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6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7.xml" ContentType="application/vnd.openxmlformats-officedocument.them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8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9.xml" ContentType="application/vnd.openxmlformats-officedocument.theme+xml"/>
  <Override PartName="/ppt/tags/tag150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15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5"/>
    <p:sldMasterId id="2147484094" r:id="rId6"/>
    <p:sldMasterId id="2147484108" r:id="rId7"/>
    <p:sldMasterId id="2147484117" r:id="rId8"/>
    <p:sldMasterId id="2147484174" r:id="rId9"/>
    <p:sldMasterId id="2147484228" r:id="rId10"/>
    <p:sldMasterId id="2147484257" r:id="rId11"/>
    <p:sldMasterId id="2147484262" r:id="rId12"/>
    <p:sldMasterId id="2147484270" r:id="rId13"/>
  </p:sldMasterIdLst>
  <p:notesMasterIdLst>
    <p:notesMasterId r:id="rId15"/>
  </p:notesMasterIdLst>
  <p:handoutMasterIdLst>
    <p:handoutMasterId r:id="rId16"/>
  </p:handoutMasterIdLst>
  <p:sldIdLst>
    <p:sldId id="2147376620" r:id="rId14"/>
  </p:sldIdLst>
  <p:sldSz cx="12192000" cy="6858000"/>
  <p:notesSz cx="7010400" cy="9296400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EC29"/>
    <a:srgbClr val="FF6600"/>
    <a:srgbClr val="000000"/>
    <a:srgbClr val="F9CB77"/>
    <a:srgbClr val="FF9900"/>
    <a:srgbClr val="0065CC"/>
    <a:srgbClr val="66FF66"/>
    <a:srgbClr val="66FF33"/>
    <a:srgbClr val="99FF66"/>
    <a:srgbClr val="91A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210" autoAdjust="0"/>
    <p:restoredTop sz="96224" autoAdjust="0"/>
  </p:normalViewPr>
  <p:slideViewPr>
    <p:cSldViewPr snapToGrid="0">
      <p:cViewPr varScale="1">
        <p:scale>
          <a:sx n="64" d="100"/>
          <a:sy n="64" d="100"/>
        </p:scale>
        <p:origin x="600" y="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4026" y="114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Master" Target="slideMasters/slideMaster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Master" Target="slideMasters/slideMaster6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8025" y="1052513"/>
            <a:ext cx="5600700" cy="31511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07275" y="4463463"/>
            <a:ext cx="6202454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422176" y="8928488"/>
            <a:ext cx="18755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9664" y="9589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99493-6412-4470-9830-D005B358D6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4784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 bwMode="gray">
          <a:xfrm>
            <a:off x="1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2370681" y="761998"/>
            <a:ext cx="1693312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pic>
        <p:nvPicPr>
          <p:cNvPr id="22" name="Picture 21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333" y="645968"/>
            <a:ext cx="2032000" cy="1524000"/>
          </a:xfrm>
          <a:prstGeom prst="rect">
            <a:avLst/>
          </a:prstGeom>
        </p:spPr>
      </p:pic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2371199" y="961200"/>
            <a:ext cx="9147700" cy="1584000"/>
          </a:xfrm>
          <a:noFill/>
        </p:spPr>
        <p:txBody>
          <a:bodyPr lIns="0" tIns="0" rIns="0"/>
          <a:lstStyle>
            <a:lvl1pPr algn="l" defTabSz="121917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lang="en-GB" sz="2800" b="0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371199" y="3317925"/>
            <a:ext cx="9147700" cy="748800"/>
          </a:xfrm>
        </p:spPr>
        <p:txBody>
          <a:bodyPr anchor="b" anchorCtr="0"/>
          <a:lstStyle>
            <a:lvl1pPr marL="0" indent="0" algn="l" defTabSz="357708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lang="en-GB" sz="1800" kern="1200" baseline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371200" y="4585016"/>
            <a:ext cx="7810528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371200" y="4838620"/>
            <a:ext cx="7810528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Role in Organisation</a:t>
            </a:r>
          </a:p>
        </p:txBody>
      </p:sp>
      <p:sp>
        <p:nvSpPr>
          <p:cNvPr id="10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C16BEE71-E793-4B80-B4EB-643097AC5DDF}" type="datetime1">
              <a:rPr lang="en-US" smtClean="0"/>
              <a:t>11/22/2022</a:t>
            </a:fld>
            <a:endParaRPr lang="en-GB" dirty="0"/>
          </a:p>
        </p:txBody>
      </p:sp>
      <p:sp>
        <p:nvSpPr>
          <p:cNvPr id="10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98228401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7" pos="111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1" y="4308032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60121"/>
            <a:ext cx="9899747" cy="1584041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1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1" y="3310198"/>
            <a:ext cx="4831322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35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4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/>
          <p:cNvSpPr/>
          <p:nvPr userDrawn="1"/>
        </p:nvSpPr>
        <p:spPr bwMode="gray">
          <a:xfrm>
            <a:off x="1778012" y="761999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9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5"/>
            <a:ext cx="4830819" cy="30494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33386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964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92930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624422" y="1312202"/>
            <a:ext cx="10945281" cy="1545018"/>
          </a:xfrm>
        </p:spPr>
        <p:txBody>
          <a:bodyPr/>
          <a:lstStyle>
            <a:lvl1pPr marL="0" indent="0" defTabSz="268202">
              <a:lnSpc>
                <a:spcPct val="120000"/>
              </a:lnSpc>
              <a:spcBef>
                <a:spcPts val="0"/>
              </a:spcBef>
              <a:defRPr/>
            </a:lvl1pPr>
            <a:lvl2pPr marL="271376" indent="-271376" defTabSz="268202">
              <a:lnSpc>
                <a:spcPct val="120000"/>
              </a:lnSpc>
              <a:spcBef>
                <a:spcPts val="0"/>
              </a:spcBef>
              <a:defRPr/>
            </a:lvl2pPr>
            <a:lvl3pPr marL="450706" indent="-180918" defTabSz="268202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41"/>
            </a:lvl3pPr>
            <a:lvl4pPr defTabSz="268202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32"/>
            </a:lvl4pPr>
            <a:lvl5pPr defTabSz="268202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28"/>
            </a:lvl5pPr>
            <a:lvl6pPr defTabSz="268202">
              <a:lnSpc>
                <a:spcPct val="12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4254968"/>
      </p:ext>
    </p:extLst>
  </p:cSld>
  <p:clrMapOvr>
    <a:masterClrMapping/>
  </p:clrMapOvr>
  <p:transition/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00068" y="357949"/>
            <a:ext cx="110343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945911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2" y="712803"/>
            <a:ext cx="11171239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2" y="1528766"/>
            <a:ext cx="11171239" cy="4830761"/>
          </a:xfrm>
        </p:spPr>
        <p:txBody>
          <a:bodyPr/>
          <a:lstStyle>
            <a:lvl1pPr marL="0" indent="0" defTabSz="357699">
              <a:lnSpc>
                <a:spcPct val="140000"/>
              </a:lnSpc>
              <a:spcBef>
                <a:spcPts val="0"/>
              </a:spcBef>
              <a:defRPr sz="1800"/>
            </a:lvl1pPr>
            <a:lvl2pPr marL="230394" indent="-230394" defTabSz="357699">
              <a:lnSpc>
                <a:spcPct val="140000"/>
              </a:lnSpc>
              <a:spcBef>
                <a:spcPts val="0"/>
              </a:spcBef>
              <a:defRPr sz="1800"/>
            </a:lvl2pPr>
            <a:lvl3pPr marL="403190" indent="-201595" defTabSz="357699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584" indent="-230394" defTabSz="357699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179" indent="-201595" defTabSz="357699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375" indent="-151196" defTabSz="357699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621684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629096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1" y="4308032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60121"/>
            <a:ext cx="9899747" cy="1584041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1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1" y="3310198"/>
            <a:ext cx="4831322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35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4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/>
          <p:cNvSpPr/>
          <p:nvPr userDrawn="1"/>
        </p:nvSpPr>
        <p:spPr bwMode="gray">
          <a:xfrm>
            <a:off x="1778012" y="761999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9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5"/>
            <a:ext cx="4830819" cy="30494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917315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9314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257187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 bwMode="gray">
          <a:xfrm>
            <a:off x="1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2370681" y="761998"/>
            <a:ext cx="1693312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pic>
        <p:nvPicPr>
          <p:cNvPr id="22" name="Picture 21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333" y="645968"/>
            <a:ext cx="2032000" cy="1524000"/>
          </a:xfrm>
          <a:prstGeom prst="rect">
            <a:avLst/>
          </a:prstGeom>
        </p:spPr>
      </p:pic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2371199" y="961200"/>
            <a:ext cx="9147700" cy="1584000"/>
          </a:xfrm>
          <a:noFill/>
        </p:spPr>
        <p:txBody>
          <a:bodyPr lIns="0" tIns="0" rIns="0"/>
          <a:lstStyle>
            <a:lvl1pPr algn="l" defTabSz="121917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lang="en-GB" sz="2800" b="0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371199" y="3317925"/>
            <a:ext cx="9147700" cy="748800"/>
          </a:xfrm>
        </p:spPr>
        <p:txBody>
          <a:bodyPr anchor="b" anchorCtr="0"/>
          <a:lstStyle>
            <a:lvl1pPr marL="0" indent="0" algn="l" defTabSz="357708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lang="en-GB" sz="1800" kern="1200" baseline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371200" y="4585016"/>
            <a:ext cx="7810528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371200" y="4838620"/>
            <a:ext cx="7810528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Role in Organisation</a:t>
            </a:r>
          </a:p>
        </p:txBody>
      </p:sp>
      <p:sp>
        <p:nvSpPr>
          <p:cNvPr id="10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C16BEE71-E793-4B80-B4EB-643097AC5DDF}" type="datetime1">
              <a:rPr lang="en-US" smtClean="0"/>
              <a:t>11/22/2022</a:t>
            </a:fld>
            <a:endParaRPr lang="en-GB" dirty="0"/>
          </a:p>
        </p:txBody>
      </p:sp>
      <p:sp>
        <p:nvSpPr>
          <p:cNvPr id="10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2417813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7" pos="111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1" y="4308032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60121"/>
            <a:ext cx="9899747" cy="1584041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1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1" y="3310198"/>
            <a:ext cx="4831322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35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4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/>
          <p:cNvSpPr/>
          <p:nvPr userDrawn="1"/>
        </p:nvSpPr>
        <p:spPr bwMode="gray">
          <a:xfrm>
            <a:off x="1778012" y="761999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9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5"/>
            <a:ext cx="4830819" cy="30494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9688342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1" y="4308032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60121"/>
            <a:ext cx="9899747" cy="1584041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1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1" y="3310198"/>
            <a:ext cx="4831322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35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4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/>
          <p:cNvSpPr/>
          <p:nvPr userDrawn="1"/>
        </p:nvSpPr>
        <p:spPr bwMode="gray">
          <a:xfrm>
            <a:off x="1778012" y="761999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9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5"/>
            <a:ext cx="4830819" cy="30494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2629225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64639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D98E80-6E27-4DB0-A8C6-94D281BD66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AD98E80-6E27-4DB0-A8C6-94D281BD66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0B8B84-A885-483B-AB70-D639840F198C}" type="datetimeFigureOut">
              <a:rPr lang="en-US" smtClean="0"/>
              <a:t>11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2815E-1D34-4890-BC8B-139828C85B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95062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8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268"/>
            <a:ext cx="6694609" cy="215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400" kern="1200" baseline="0" noProof="0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400" baseline="0" noProof="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09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09" cy="215444"/>
          </a:xfrm>
        </p:spPr>
        <p:txBody>
          <a:bodyPr>
            <a:spAutoFit/>
          </a:bodyPr>
          <a:lstStyle>
            <a:lvl1pPr algn="l">
              <a:defRPr sz="140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21761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38458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dirty="0"/>
              <a:t>July 2017</a:t>
            </a:r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55478539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2" y="728663"/>
            <a:ext cx="10845799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14400" rtl="0" eaLnBrk="1" latinLnBrk="0" hangingPunct="1"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88619" y="1557339"/>
            <a:ext cx="5230283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 marL="230400" indent="-230400">
              <a:defRPr lang="en-GB" dirty="0" smtClean="0"/>
            </a:lvl2pPr>
            <a:lvl3pPr marL="403200" indent="-201600">
              <a:defRPr lang="en-GB" dirty="0" smtClean="0"/>
            </a:lvl3pPr>
            <a:lvl4pPr marL="633600" indent="-230400">
              <a:defRPr lang="en-GB" dirty="0" smtClean="0"/>
            </a:lvl4pPr>
            <a:lvl5pPr marL="835200" indent="-201600">
              <a:defRPr lang="en-GB" dirty="0" smtClean="0"/>
            </a:lvl5pPr>
            <a:lvl6pPr marL="986400" indent="-151200">
              <a:defRPr lang="en-GB" dirty="0" smtClean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673101" y="1557339"/>
            <a:ext cx="5230284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 marL="230400" indent="-230400">
              <a:defRPr lang="en-GB" dirty="0" smtClean="0"/>
            </a:lvl2pPr>
            <a:lvl3pPr marL="403200" indent="-201600">
              <a:defRPr lang="en-GB" dirty="0" smtClean="0"/>
            </a:lvl3pPr>
            <a:lvl4pPr marL="633600" indent="-230400">
              <a:defRPr lang="en-GB" dirty="0" smtClean="0"/>
            </a:lvl4pPr>
            <a:lvl5pPr marL="835200" indent="-201600">
              <a:defRPr lang="en-GB" dirty="0" smtClean="0"/>
            </a:lvl5pPr>
            <a:lvl6pPr marL="986400" indent="-151200">
              <a:defRPr lang="en-GB" dirty="0" smtClean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dirty="0"/>
              <a:t>2017</a:t>
            </a:r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</p:spTree>
    <p:extLst>
      <p:ext uri="{BB962C8B-B14F-4D97-AF65-F5344CB8AC3E}">
        <p14:creationId xmlns:p14="http://schemas.microsoft.com/office/powerpoint/2010/main" val="397011566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dirty="0"/>
              <a:t>2017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  <p:sp>
        <p:nvSpPr>
          <p:cNvPr id="11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The Shell Petroleum Development Company of Nigeria Ltd </a:t>
            </a: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209062" y="6480472"/>
            <a:ext cx="1439333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425793739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2" y="4308032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1" y="960123"/>
            <a:ext cx="9899747" cy="249107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1575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1" y="3904129"/>
            <a:ext cx="4831323" cy="155877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013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1" y="4588235"/>
            <a:ext cx="4870924" cy="121252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788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1" y="4840065"/>
            <a:ext cx="4870924" cy="121252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788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479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/>
          <p:cNvSpPr/>
          <p:nvPr userDrawn="1"/>
        </p:nvSpPr>
        <p:spPr bwMode="gray">
          <a:xfrm>
            <a:off x="1778012" y="761999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900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9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9" y="2795385"/>
            <a:ext cx="4830819" cy="184666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6399775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31194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22564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455608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1" y="4308032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60121"/>
            <a:ext cx="9899747" cy="1584041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1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1" y="3310198"/>
            <a:ext cx="4831322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35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4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/>
          <p:cNvSpPr/>
          <p:nvPr userDrawn="1"/>
        </p:nvSpPr>
        <p:spPr bwMode="gray">
          <a:xfrm>
            <a:off x="1778012" y="761999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9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5"/>
            <a:ext cx="4830819" cy="30494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9546690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08538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50141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7E266E-7A66-4B85-ACAD-7AEF49AD5D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817467"/>
            <a:ext cx="9144000" cy="69249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F85EDAF-13C5-4B0D-AF54-B3DD6560A4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9"/>
            <a:ext cx="9144000" cy="276999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117D15-5715-4BA3-B661-02C0FCB086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3C8FE-0264-4C08-956B-8660E5BE9EA6}" type="datetimeFigureOut">
              <a:rPr lang="en-US" smtClean="0"/>
              <a:t>11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BCD826-456E-41D0-B228-4EC0F27F33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2CE6A4-9B95-49C1-A04C-F4B8696DF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2A713-FF32-4D25-8EAD-2A19371D39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7541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25641EA-80A8-42AF-AEE5-731EE068C70C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729189584"/>
      </p:ext>
    </p:extLst>
  </p:cSld>
  <p:clrMapOvr>
    <a:masterClrMapping/>
  </p:clrMapOvr>
  <p:hf hdr="0" ft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25641EA-80A8-42AF-AEE5-731EE068C70C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680741794"/>
      </p:ext>
    </p:extLst>
  </p:cSld>
  <p:clrMapOvr>
    <a:masterClrMapping/>
  </p:clrMapOvr>
  <p:hf hdr="0" ft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25641EA-80A8-42AF-AEE5-731EE068C70C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572757958"/>
      </p:ext>
    </p:extLst>
  </p:cSld>
  <p:clrMapOvr>
    <a:masterClrMapping/>
  </p:clrMapOvr>
  <p:hf hdr="0" ft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25641EA-80A8-42AF-AEE5-731EE068C70C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931499313"/>
      </p:ext>
    </p:extLst>
  </p:cSld>
  <p:clrMapOvr>
    <a:masterClrMapping/>
  </p:clrMapOvr>
  <p:hf hdr="0" ft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25641EA-80A8-42AF-AEE5-731EE068C70C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649860599"/>
      </p:ext>
    </p:extLst>
  </p:cSld>
  <p:clrMapOvr>
    <a:masterClrMapping/>
  </p:clrMapOvr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 bwMode="gray">
          <a:xfrm>
            <a:off x="1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2370681" y="761998"/>
            <a:ext cx="1693312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pic>
        <p:nvPicPr>
          <p:cNvPr id="22" name="Picture 21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333" y="645968"/>
            <a:ext cx="2032000" cy="1524000"/>
          </a:xfrm>
          <a:prstGeom prst="rect">
            <a:avLst/>
          </a:prstGeom>
        </p:spPr>
      </p:pic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2371199" y="961200"/>
            <a:ext cx="9147700" cy="1584000"/>
          </a:xfrm>
          <a:noFill/>
        </p:spPr>
        <p:txBody>
          <a:bodyPr lIns="0" tIns="0" rIns="0"/>
          <a:lstStyle>
            <a:lvl1pPr algn="l" defTabSz="121917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lang="en-GB" sz="2800" b="0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371199" y="3317925"/>
            <a:ext cx="9147700" cy="748800"/>
          </a:xfrm>
        </p:spPr>
        <p:txBody>
          <a:bodyPr anchor="b" anchorCtr="0"/>
          <a:lstStyle>
            <a:lvl1pPr marL="0" indent="0" algn="l" defTabSz="357708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lang="en-GB" sz="1800" kern="1200" baseline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371200" y="4585016"/>
            <a:ext cx="7810528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371200" y="4838620"/>
            <a:ext cx="7810528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Role in Organisation</a:t>
            </a:r>
          </a:p>
        </p:txBody>
      </p:sp>
      <p:sp>
        <p:nvSpPr>
          <p:cNvPr id="10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C16BEE71-E793-4B80-B4EB-643097AC5DDF}" type="datetime1">
              <a:rPr lang="en-US" smtClean="0"/>
              <a:t>11/22/2022</a:t>
            </a:fld>
            <a:endParaRPr lang="en-GB" dirty="0"/>
          </a:p>
        </p:txBody>
      </p:sp>
      <p:sp>
        <p:nvSpPr>
          <p:cNvPr id="10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36377084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7" pos="111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D3F3BF4-8530-4D1A-9EFE-6F9A390B2470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91263CD7-895B-4506-ABC0-A1F01A98258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1294898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6D8B9B7-D821-49C7-BFAE-AABFBC45767A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7" name="Text Box 11" descr="&lt;COMPANY_NAME&gt;{18.70866,264.5669,509.3857,40.33535}">
            <a:extLst>
              <a:ext uri="{FF2B5EF4-FFF2-40B4-BE49-F238E27FC236}">
                <a16:creationId xmlns:a16="http://schemas.microsoft.com/office/drawing/2014/main" id="{23D7BDE4-C709-437C-97BC-A9DD30A75A2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The Shell Pet Dev Co of Nig Ltd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26281296-178F-4B58-A8AE-592966DAED1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9758810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25641EA-80A8-42AF-AEE5-731EE068C70C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2586207342"/>
      </p:ext>
    </p:extLst>
  </p:cSld>
  <p:clrMapOvr>
    <a:masterClrMapping/>
  </p:clrMapOvr>
  <p:hf hdr="0" ft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25641EA-80A8-42AF-AEE5-731EE068C70C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1319864246"/>
      </p:ext>
    </p:extLst>
  </p:cSld>
  <p:clrMapOvr>
    <a:masterClrMapping/>
  </p:clrMapOvr>
  <p:hf hdr="0" ft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25641EA-80A8-42AF-AEE5-731EE068C70C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60937840"/>
      </p:ext>
    </p:extLst>
  </p:cSld>
  <p:clrMapOvr>
    <a:masterClrMapping/>
  </p:clrMapOvr>
  <p:hf hdr="0" ft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25641EA-80A8-42AF-AEE5-731EE068C70C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704977520"/>
      </p:ext>
    </p:extLst>
  </p:cSld>
  <p:clrMapOvr>
    <a:masterClrMapping/>
  </p:clrMapOvr>
  <p:hf hdr="0" ft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25641EA-80A8-42AF-AEE5-731EE068C70C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1829665894"/>
      </p:ext>
    </p:extLst>
  </p:cSld>
  <p:clrMapOvr>
    <a:masterClrMapping/>
  </p:clrMapOvr>
  <p:hf hdr="0" ft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25641EA-80A8-42AF-AEE5-731EE068C70C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923402280"/>
      </p:ext>
    </p:extLst>
  </p:cSld>
  <p:clrMapOvr>
    <a:masterClrMapping/>
  </p:clrMapOvr>
  <p:hf hdr="0" ft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25641EA-80A8-42AF-AEE5-731EE068C70C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4277953031"/>
      </p:ext>
    </p:extLst>
  </p:cSld>
  <p:clrMapOvr>
    <a:masterClrMapping/>
  </p:clrMapOvr>
  <p:hf hdr="0" ft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25641EA-80A8-42AF-AEE5-731EE068C70C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4251359019"/>
      </p:ext>
    </p:extLst>
  </p:cSld>
  <p:clrMapOvr>
    <a:masterClrMapping/>
  </p:clrMapOvr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1" y="4308032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60121"/>
            <a:ext cx="9899747" cy="1584041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1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1" y="3310198"/>
            <a:ext cx="4831322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35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4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/>
          <p:cNvSpPr/>
          <p:nvPr userDrawn="1"/>
        </p:nvSpPr>
        <p:spPr bwMode="gray">
          <a:xfrm>
            <a:off x="1778012" y="761999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9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5"/>
            <a:ext cx="4830819" cy="30494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8673859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25641EA-80A8-42AF-AEE5-731EE068C70C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2880043799"/>
      </p:ext>
    </p:extLst>
  </p:cSld>
  <p:clrMapOvr>
    <a:masterClrMapping/>
  </p:clrMapOvr>
  <p:hf hdr="0" ftr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101"/>
          <p:cNvSpPr/>
          <p:nvPr userDrawn="1"/>
        </p:nvSpPr>
        <p:spPr bwMode="gray">
          <a:xfrm>
            <a:off x="673099" y="3554414"/>
            <a:ext cx="9152468" cy="2797175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595959"/>
              </a:solidFill>
            </a:endParaRPr>
          </a:p>
        </p:txBody>
      </p:sp>
      <p:sp>
        <p:nvSpPr>
          <p:cNvPr id="31" name="Rectangle 30"/>
          <p:cNvSpPr/>
          <p:nvPr userDrawn="1"/>
        </p:nvSpPr>
        <p:spPr bwMode="gray">
          <a:xfrm>
            <a:off x="2443068" y="3829099"/>
            <a:ext cx="1693312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595959"/>
              </a:solidFill>
            </a:endParaRPr>
          </a:p>
        </p:txBody>
      </p:sp>
      <p:pic>
        <p:nvPicPr>
          <p:cNvPr id="34" name="Picture 33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34554" y="3688500"/>
            <a:ext cx="1953649" cy="1465237"/>
          </a:xfrm>
          <a:prstGeom prst="rect">
            <a:avLst/>
          </a:prstGeom>
        </p:spPr>
      </p:pic>
      <p:sp>
        <p:nvSpPr>
          <p:cNvPr id="35" name="Picture Placeholder 2"/>
          <p:cNvSpPr>
            <a:spLocks noGrp="1"/>
          </p:cNvSpPr>
          <p:nvPr userDrawn="1">
            <p:ph type="pic" sz="quarter" idx="13"/>
          </p:nvPr>
        </p:nvSpPr>
        <p:spPr bwMode="auto">
          <a:xfrm>
            <a:off x="1" y="0"/>
            <a:ext cx="12200897" cy="4830116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  <a:gd name="connsiteX0" fmla="*/ 241373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41373 w 12194723"/>
              <a:gd name="connsiteY8" fmla="*/ 0 h 4854829"/>
              <a:gd name="connsiteX0" fmla="*/ 2382 w 11955732"/>
              <a:gd name="connsiteY0" fmla="*/ 0 h 4854829"/>
              <a:gd name="connsiteX1" fmla="*/ 11955391 w 11955732"/>
              <a:gd name="connsiteY1" fmla="*/ 0 h 4854829"/>
              <a:gd name="connsiteX2" fmla="*/ 11955391 w 11955732"/>
              <a:gd name="connsiteY2" fmla="*/ 4854636 h 4854829"/>
              <a:gd name="connsiteX3" fmla="*/ 7384257 w 11955732"/>
              <a:gd name="connsiteY3" fmla="*/ 4843680 h 4854829"/>
              <a:gd name="connsiteX4" fmla="*/ 7381442 w 11955732"/>
              <a:gd name="connsiteY4" fmla="*/ 3543300 h 4854829"/>
              <a:gd name="connsiteX5" fmla="*/ 523124 w 11955732"/>
              <a:gd name="connsiteY5" fmla="*/ 3547023 h 4854829"/>
              <a:gd name="connsiteX6" fmla="*/ 523704 w 11955732"/>
              <a:gd name="connsiteY6" fmla="*/ 4850671 h 4854829"/>
              <a:gd name="connsiteX7" fmla="*/ 0 w 11955732"/>
              <a:gd name="connsiteY7" fmla="*/ 4847509 h 4854829"/>
              <a:gd name="connsiteX8" fmla="*/ 2382 w 11955732"/>
              <a:gd name="connsiteY8" fmla="*/ 0 h 4854829"/>
              <a:gd name="connsiteX0" fmla="*/ 2382 w 11960184"/>
              <a:gd name="connsiteY0" fmla="*/ 0 h 4854829"/>
              <a:gd name="connsiteX1" fmla="*/ 11955391 w 11960184"/>
              <a:gd name="connsiteY1" fmla="*/ 0 h 4854829"/>
              <a:gd name="connsiteX2" fmla="*/ 11955391 w 11960184"/>
              <a:gd name="connsiteY2" fmla="*/ 4854636 h 4854829"/>
              <a:gd name="connsiteX3" fmla="*/ 7384257 w 11960184"/>
              <a:gd name="connsiteY3" fmla="*/ 4843680 h 4854829"/>
              <a:gd name="connsiteX4" fmla="*/ 7381442 w 11960184"/>
              <a:gd name="connsiteY4" fmla="*/ 3543300 h 4854829"/>
              <a:gd name="connsiteX5" fmla="*/ 523124 w 11960184"/>
              <a:gd name="connsiteY5" fmla="*/ 3547023 h 4854829"/>
              <a:gd name="connsiteX6" fmla="*/ 523704 w 11960184"/>
              <a:gd name="connsiteY6" fmla="*/ 4850671 h 4854829"/>
              <a:gd name="connsiteX7" fmla="*/ 0 w 11960184"/>
              <a:gd name="connsiteY7" fmla="*/ 4847509 h 4854829"/>
              <a:gd name="connsiteX8" fmla="*/ 2382 w 11960184"/>
              <a:gd name="connsiteY8" fmla="*/ 0 h 4854829"/>
              <a:gd name="connsiteX0" fmla="*/ 2382 w 11975151"/>
              <a:gd name="connsiteY0" fmla="*/ 0 h 5210613"/>
              <a:gd name="connsiteX1" fmla="*/ 9149846 w 11975151"/>
              <a:gd name="connsiteY1" fmla="*/ 0 h 5210613"/>
              <a:gd name="connsiteX2" fmla="*/ 11955391 w 11975151"/>
              <a:gd name="connsiteY2" fmla="*/ 4854636 h 5210613"/>
              <a:gd name="connsiteX3" fmla="*/ 7384257 w 11975151"/>
              <a:gd name="connsiteY3" fmla="*/ 4843680 h 5210613"/>
              <a:gd name="connsiteX4" fmla="*/ 7381442 w 11975151"/>
              <a:gd name="connsiteY4" fmla="*/ 3543300 h 5210613"/>
              <a:gd name="connsiteX5" fmla="*/ 523124 w 11975151"/>
              <a:gd name="connsiteY5" fmla="*/ 3547023 h 5210613"/>
              <a:gd name="connsiteX6" fmla="*/ 523704 w 11975151"/>
              <a:gd name="connsiteY6" fmla="*/ 4850671 h 5210613"/>
              <a:gd name="connsiteX7" fmla="*/ 0 w 11975151"/>
              <a:gd name="connsiteY7" fmla="*/ 4847509 h 5210613"/>
              <a:gd name="connsiteX8" fmla="*/ 2382 w 11975151"/>
              <a:gd name="connsiteY8" fmla="*/ 0 h 5210613"/>
              <a:gd name="connsiteX0" fmla="*/ 2382 w 11955393"/>
              <a:gd name="connsiteY0" fmla="*/ 0 h 4854636"/>
              <a:gd name="connsiteX1" fmla="*/ 9149846 w 11955393"/>
              <a:gd name="connsiteY1" fmla="*/ 0 h 4854636"/>
              <a:gd name="connsiteX2" fmla="*/ 11955391 w 11955393"/>
              <a:gd name="connsiteY2" fmla="*/ 4854636 h 4854636"/>
              <a:gd name="connsiteX3" fmla="*/ 7384257 w 11955393"/>
              <a:gd name="connsiteY3" fmla="*/ 4843680 h 4854636"/>
              <a:gd name="connsiteX4" fmla="*/ 7381442 w 11955393"/>
              <a:gd name="connsiteY4" fmla="*/ 3543300 h 4854636"/>
              <a:gd name="connsiteX5" fmla="*/ 523124 w 11955393"/>
              <a:gd name="connsiteY5" fmla="*/ 3547023 h 4854636"/>
              <a:gd name="connsiteX6" fmla="*/ 523704 w 11955393"/>
              <a:gd name="connsiteY6" fmla="*/ 4850671 h 4854636"/>
              <a:gd name="connsiteX7" fmla="*/ 0 w 11955393"/>
              <a:gd name="connsiteY7" fmla="*/ 4847509 h 4854636"/>
              <a:gd name="connsiteX8" fmla="*/ 2382 w 11955393"/>
              <a:gd name="connsiteY8" fmla="*/ 0 h 4854636"/>
              <a:gd name="connsiteX0" fmla="*/ 2382 w 9685771"/>
              <a:gd name="connsiteY0" fmla="*/ 360370 h 5307510"/>
              <a:gd name="connsiteX1" fmla="*/ 9149846 w 9685771"/>
              <a:gd name="connsiteY1" fmla="*/ 360370 h 5307510"/>
              <a:gd name="connsiteX2" fmla="*/ 8661472 w 9685771"/>
              <a:gd name="connsiteY2" fmla="*/ 5225371 h 5307510"/>
              <a:gd name="connsiteX3" fmla="*/ 7384257 w 9685771"/>
              <a:gd name="connsiteY3" fmla="*/ 5204050 h 5307510"/>
              <a:gd name="connsiteX4" fmla="*/ 7381442 w 9685771"/>
              <a:gd name="connsiteY4" fmla="*/ 3903670 h 5307510"/>
              <a:gd name="connsiteX5" fmla="*/ 523124 w 9685771"/>
              <a:gd name="connsiteY5" fmla="*/ 3907393 h 5307510"/>
              <a:gd name="connsiteX6" fmla="*/ 523704 w 9685771"/>
              <a:gd name="connsiteY6" fmla="*/ 5211041 h 5307510"/>
              <a:gd name="connsiteX7" fmla="*/ 0 w 9685771"/>
              <a:gd name="connsiteY7" fmla="*/ 5207879 h 5307510"/>
              <a:gd name="connsiteX8" fmla="*/ 2382 w 9685771"/>
              <a:gd name="connsiteY8" fmla="*/ 360370 h 5307510"/>
              <a:gd name="connsiteX0" fmla="*/ 2382 w 9151108"/>
              <a:gd name="connsiteY0" fmla="*/ 0 h 4947140"/>
              <a:gd name="connsiteX1" fmla="*/ 9149846 w 9151108"/>
              <a:gd name="connsiteY1" fmla="*/ 0 h 4947140"/>
              <a:gd name="connsiteX2" fmla="*/ 8661472 w 9151108"/>
              <a:gd name="connsiteY2" fmla="*/ 4865001 h 4947140"/>
              <a:gd name="connsiteX3" fmla="*/ 7384257 w 9151108"/>
              <a:gd name="connsiteY3" fmla="*/ 4843680 h 4947140"/>
              <a:gd name="connsiteX4" fmla="*/ 7381442 w 9151108"/>
              <a:gd name="connsiteY4" fmla="*/ 3543300 h 4947140"/>
              <a:gd name="connsiteX5" fmla="*/ 523124 w 9151108"/>
              <a:gd name="connsiteY5" fmla="*/ 3547023 h 4947140"/>
              <a:gd name="connsiteX6" fmla="*/ 523704 w 9151108"/>
              <a:gd name="connsiteY6" fmla="*/ 4850671 h 4947140"/>
              <a:gd name="connsiteX7" fmla="*/ 0 w 9151108"/>
              <a:gd name="connsiteY7" fmla="*/ 4847509 h 4947140"/>
              <a:gd name="connsiteX8" fmla="*/ 2382 w 9151108"/>
              <a:gd name="connsiteY8" fmla="*/ 0 h 4947140"/>
              <a:gd name="connsiteX0" fmla="*/ 2382 w 9828173"/>
              <a:gd name="connsiteY0" fmla="*/ 356531 h 5286738"/>
              <a:gd name="connsiteX1" fmla="*/ 9149846 w 9828173"/>
              <a:gd name="connsiteY1" fmla="*/ 356531 h 5286738"/>
              <a:gd name="connsiteX2" fmla="*/ 9149845 w 9828173"/>
              <a:gd name="connsiteY2" fmla="*/ 5169707 h 5286738"/>
              <a:gd name="connsiteX3" fmla="*/ 7384257 w 9828173"/>
              <a:gd name="connsiteY3" fmla="*/ 5200211 h 5286738"/>
              <a:gd name="connsiteX4" fmla="*/ 7381442 w 9828173"/>
              <a:gd name="connsiteY4" fmla="*/ 3899831 h 5286738"/>
              <a:gd name="connsiteX5" fmla="*/ 523124 w 9828173"/>
              <a:gd name="connsiteY5" fmla="*/ 3903554 h 5286738"/>
              <a:gd name="connsiteX6" fmla="*/ 523704 w 9828173"/>
              <a:gd name="connsiteY6" fmla="*/ 5207202 h 5286738"/>
              <a:gd name="connsiteX7" fmla="*/ 0 w 9828173"/>
              <a:gd name="connsiteY7" fmla="*/ 5204040 h 5286738"/>
              <a:gd name="connsiteX8" fmla="*/ 2382 w 9828173"/>
              <a:gd name="connsiteY8" fmla="*/ 356531 h 5286738"/>
              <a:gd name="connsiteX0" fmla="*/ 2382 w 9154046"/>
              <a:gd name="connsiteY0" fmla="*/ 0 h 4930207"/>
              <a:gd name="connsiteX1" fmla="*/ 9149846 w 9154046"/>
              <a:gd name="connsiteY1" fmla="*/ 0 h 4930207"/>
              <a:gd name="connsiteX2" fmla="*/ 9149845 w 9154046"/>
              <a:gd name="connsiteY2" fmla="*/ 4813176 h 4930207"/>
              <a:gd name="connsiteX3" fmla="*/ 7384257 w 9154046"/>
              <a:gd name="connsiteY3" fmla="*/ 4843680 h 4930207"/>
              <a:gd name="connsiteX4" fmla="*/ 7381442 w 9154046"/>
              <a:gd name="connsiteY4" fmla="*/ 3543300 h 4930207"/>
              <a:gd name="connsiteX5" fmla="*/ 523124 w 9154046"/>
              <a:gd name="connsiteY5" fmla="*/ 3547023 h 4930207"/>
              <a:gd name="connsiteX6" fmla="*/ 523704 w 9154046"/>
              <a:gd name="connsiteY6" fmla="*/ 4850671 h 4930207"/>
              <a:gd name="connsiteX7" fmla="*/ 0 w 9154046"/>
              <a:gd name="connsiteY7" fmla="*/ 4847509 h 4930207"/>
              <a:gd name="connsiteX8" fmla="*/ 2382 w 9154046"/>
              <a:gd name="connsiteY8" fmla="*/ 0 h 4930207"/>
              <a:gd name="connsiteX0" fmla="*/ 2382 w 9154046"/>
              <a:gd name="connsiteY0" fmla="*/ 0 h 4850673"/>
              <a:gd name="connsiteX1" fmla="*/ 9149846 w 9154046"/>
              <a:gd name="connsiteY1" fmla="*/ 0 h 4850673"/>
              <a:gd name="connsiteX2" fmla="*/ 9149845 w 9154046"/>
              <a:gd name="connsiteY2" fmla="*/ 4813176 h 4850673"/>
              <a:gd name="connsiteX3" fmla="*/ 7384257 w 9154046"/>
              <a:gd name="connsiteY3" fmla="*/ 4843680 h 4850673"/>
              <a:gd name="connsiteX4" fmla="*/ 7381442 w 9154046"/>
              <a:gd name="connsiteY4" fmla="*/ 3543300 h 4850673"/>
              <a:gd name="connsiteX5" fmla="*/ 523124 w 9154046"/>
              <a:gd name="connsiteY5" fmla="*/ 3547023 h 4850673"/>
              <a:gd name="connsiteX6" fmla="*/ 523704 w 9154046"/>
              <a:gd name="connsiteY6" fmla="*/ 4850671 h 4850673"/>
              <a:gd name="connsiteX7" fmla="*/ 0 w 9154046"/>
              <a:gd name="connsiteY7" fmla="*/ 4847509 h 4850673"/>
              <a:gd name="connsiteX8" fmla="*/ 2382 w 9154046"/>
              <a:gd name="connsiteY8" fmla="*/ 0 h 4850673"/>
              <a:gd name="connsiteX0" fmla="*/ 2382 w 9282313"/>
              <a:gd name="connsiteY0" fmla="*/ 0 h 5171093"/>
              <a:gd name="connsiteX1" fmla="*/ 9149846 w 9282313"/>
              <a:gd name="connsiteY1" fmla="*/ 0 h 5171093"/>
              <a:gd name="connsiteX2" fmla="*/ 9149845 w 9282313"/>
              <a:gd name="connsiteY2" fmla="*/ 4813176 h 5171093"/>
              <a:gd name="connsiteX3" fmla="*/ 7384257 w 9282313"/>
              <a:gd name="connsiteY3" fmla="*/ 4821343 h 5171093"/>
              <a:gd name="connsiteX4" fmla="*/ 7381442 w 9282313"/>
              <a:gd name="connsiteY4" fmla="*/ 3543300 h 5171093"/>
              <a:gd name="connsiteX5" fmla="*/ 523124 w 9282313"/>
              <a:gd name="connsiteY5" fmla="*/ 3547023 h 5171093"/>
              <a:gd name="connsiteX6" fmla="*/ 523704 w 9282313"/>
              <a:gd name="connsiteY6" fmla="*/ 4850671 h 5171093"/>
              <a:gd name="connsiteX7" fmla="*/ 0 w 9282313"/>
              <a:gd name="connsiteY7" fmla="*/ 4847509 h 5171093"/>
              <a:gd name="connsiteX8" fmla="*/ 2382 w 9282313"/>
              <a:gd name="connsiteY8" fmla="*/ 0 h 5171093"/>
              <a:gd name="connsiteX0" fmla="*/ 2382 w 9282313"/>
              <a:gd name="connsiteY0" fmla="*/ 0 h 5168611"/>
              <a:gd name="connsiteX1" fmla="*/ 9149846 w 9282313"/>
              <a:gd name="connsiteY1" fmla="*/ 0 h 5168611"/>
              <a:gd name="connsiteX2" fmla="*/ 9149845 w 9282313"/>
              <a:gd name="connsiteY2" fmla="*/ 4813176 h 5168611"/>
              <a:gd name="connsiteX3" fmla="*/ 7384257 w 9282313"/>
              <a:gd name="connsiteY3" fmla="*/ 4813896 h 5168611"/>
              <a:gd name="connsiteX4" fmla="*/ 7381442 w 9282313"/>
              <a:gd name="connsiteY4" fmla="*/ 3543300 h 5168611"/>
              <a:gd name="connsiteX5" fmla="*/ 523124 w 9282313"/>
              <a:gd name="connsiteY5" fmla="*/ 3547023 h 5168611"/>
              <a:gd name="connsiteX6" fmla="*/ 523704 w 9282313"/>
              <a:gd name="connsiteY6" fmla="*/ 4850671 h 5168611"/>
              <a:gd name="connsiteX7" fmla="*/ 0 w 9282313"/>
              <a:gd name="connsiteY7" fmla="*/ 4847509 h 5168611"/>
              <a:gd name="connsiteX8" fmla="*/ 2382 w 9282313"/>
              <a:gd name="connsiteY8" fmla="*/ 0 h 5168611"/>
              <a:gd name="connsiteX0" fmla="*/ 2382 w 9153055"/>
              <a:gd name="connsiteY0" fmla="*/ 0 h 4850673"/>
              <a:gd name="connsiteX1" fmla="*/ 9149846 w 9153055"/>
              <a:gd name="connsiteY1" fmla="*/ 0 h 4850673"/>
              <a:gd name="connsiteX2" fmla="*/ 9149845 w 9153055"/>
              <a:gd name="connsiteY2" fmla="*/ 4813176 h 4850673"/>
              <a:gd name="connsiteX3" fmla="*/ 7384257 w 9153055"/>
              <a:gd name="connsiteY3" fmla="*/ 4813896 h 4850673"/>
              <a:gd name="connsiteX4" fmla="*/ 7381442 w 9153055"/>
              <a:gd name="connsiteY4" fmla="*/ 3543300 h 4850673"/>
              <a:gd name="connsiteX5" fmla="*/ 523124 w 9153055"/>
              <a:gd name="connsiteY5" fmla="*/ 3547023 h 4850673"/>
              <a:gd name="connsiteX6" fmla="*/ 523704 w 9153055"/>
              <a:gd name="connsiteY6" fmla="*/ 4850671 h 4850673"/>
              <a:gd name="connsiteX7" fmla="*/ 0 w 9153055"/>
              <a:gd name="connsiteY7" fmla="*/ 4847509 h 4850673"/>
              <a:gd name="connsiteX8" fmla="*/ 2382 w 9153055"/>
              <a:gd name="connsiteY8" fmla="*/ 0 h 4850673"/>
              <a:gd name="connsiteX0" fmla="*/ 2382 w 9153055"/>
              <a:gd name="connsiteY0" fmla="*/ 0 h 4850673"/>
              <a:gd name="connsiteX1" fmla="*/ 9149846 w 9153055"/>
              <a:gd name="connsiteY1" fmla="*/ 0 h 4850673"/>
              <a:gd name="connsiteX2" fmla="*/ 9149845 w 9153055"/>
              <a:gd name="connsiteY2" fmla="*/ 4813176 h 4850673"/>
              <a:gd name="connsiteX3" fmla="*/ 7384257 w 9153055"/>
              <a:gd name="connsiteY3" fmla="*/ 4813896 h 4850673"/>
              <a:gd name="connsiteX4" fmla="*/ 7381442 w 9153055"/>
              <a:gd name="connsiteY4" fmla="*/ 3543300 h 4850673"/>
              <a:gd name="connsiteX5" fmla="*/ 523124 w 9153055"/>
              <a:gd name="connsiteY5" fmla="*/ 3547023 h 4850673"/>
              <a:gd name="connsiteX6" fmla="*/ 523704 w 9153055"/>
              <a:gd name="connsiteY6" fmla="*/ 4850671 h 4850673"/>
              <a:gd name="connsiteX7" fmla="*/ 0 w 9153055"/>
              <a:gd name="connsiteY7" fmla="*/ 4847509 h 4850673"/>
              <a:gd name="connsiteX8" fmla="*/ 2382 w 9153055"/>
              <a:gd name="connsiteY8" fmla="*/ 0 h 4850673"/>
              <a:gd name="connsiteX0" fmla="*/ 2382 w 9153055"/>
              <a:gd name="connsiteY0" fmla="*/ 0 h 4847542"/>
              <a:gd name="connsiteX1" fmla="*/ 9149846 w 9153055"/>
              <a:gd name="connsiteY1" fmla="*/ 0 h 4847542"/>
              <a:gd name="connsiteX2" fmla="*/ 9149845 w 9153055"/>
              <a:gd name="connsiteY2" fmla="*/ 4813176 h 4847542"/>
              <a:gd name="connsiteX3" fmla="*/ 7384257 w 9153055"/>
              <a:gd name="connsiteY3" fmla="*/ 4813896 h 4847542"/>
              <a:gd name="connsiteX4" fmla="*/ 7381442 w 9153055"/>
              <a:gd name="connsiteY4" fmla="*/ 3543300 h 4847542"/>
              <a:gd name="connsiteX5" fmla="*/ 523124 w 9153055"/>
              <a:gd name="connsiteY5" fmla="*/ 3547023 h 4847542"/>
              <a:gd name="connsiteX6" fmla="*/ 517484 w 9153055"/>
              <a:gd name="connsiteY6" fmla="*/ 4825851 h 4847542"/>
              <a:gd name="connsiteX7" fmla="*/ 0 w 9153055"/>
              <a:gd name="connsiteY7" fmla="*/ 4847509 h 4847542"/>
              <a:gd name="connsiteX8" fmla="*/ 2382 w 9153055"/>
              <a:gd name="connsiteY8" fmla="*/ 0 h 4847542"/>
              <a:gd name="connsiteX0" fmla="*/ 2382 w 9153055"/>
              <a:gd name="connsiteY0" fmla="*/ 0 h 4835165"/>
              <a:gd name="connsiteX1" fmla="*/ 9149846 w 9153055"/>
              <a:gd name="connsiteY1" fmla="*/ 0 h 4835165"/>
              <a:gd name="connsiteX2" fmla="*/ 9149845 w 9153055"/>
              <a:gd name="connsiteY2" fmla="*/ 4813176 h 4835165"/>
              <a:gd name="connsiteX3" fmla="*/ 7384257 w 9153055"/>
              <a:gd name="connsiteY3" fmla="*/ 4813896 h 4835165"/>
              <a:gd name="connsiteX4" fmla="*/ 7381442 w 9153055"/>
              <a:gd name="connsiteY4" fmla="*/ 3543300 h 4835165"/>
              <a:gd name="connsiteX5" fmla="*/ 523124 w 9153055"/>
              <a:gd name="connsiteY5" fmla="*/ 3547023 h 4835165"/>
              <a:gd name="connsiteX6" fmla="*/ 517484 w 9153055"/>
              <a:gd name="connsiteY6" fmla="*/ 4825851 h 4835165"/>
              <a:gd name="connsiteX7" fmla="*/ 0 w 9153055"/>
              <a:gd name="connsiteY7" fmla="*/ 4835100 h 4835165"/>
              <a:gd name="connsiteX8" fmla="*/ 2382 w 9153055"/>
              <a:gd name="connsiteY8" fmla="*/ 0 h 4835165"/>
              <a:gd name="connsiteX0" fmla="*/ 2382 w 9153055"/>
              <a:gd name="connsiteY0" fmla="*/ 0 h 4835165"/>
              <a:gd name="connsiteX1" fmla="*/ 9149846 w 9153055"/>
              <a:gd name="connsiteY1" fmla="*/ 0 h 4835165"/>
              <a:gd name="connsiteX2" fmla="*/ 9149845 w 9153055"/>
              <a:gd name="connsiteY2" fmla="*/ 4813176 h 4835165"/>
              <a:gd name="connsiteX3" fmla="*/ 7384257 w 9153055"/>
              <a:gd name="connsiteY3" fmla="*/ 4813896 h 4835165"/>
              <a:gd name="connsiteX4" fmla="*/ 7381442 w 9153055"/>
              <a:gd name="connsiteY4" fmla="*/ 3543300 h 4835165"/>
              <a:gd name="connsiteX5" fmla="*/ 523124 w 9153055"/>
              <a:gd name="connsiteY5" fmla="*/ 3547023 h 4835165"/>
              <a:gd name="connsiteX6" fmla="*/ 517484 w 9153055"/>
              <a:gd name="connsiteY6" fmla="*/ 4825851 h 4835165"/>
              <a:gd name="connsiteX7" fmla="*/ 0 w 9153055"/>
              <a:gd name="connsiteY7" fmla="*/ 4835100 h 4835165"/>
              <a:gd name="connsiteX8" fmla="*/ 2382 w 9153055"/>
              <a:gd name="connsiteY8" fmla="*/ 0 h 4835165"/>
              <a:gd name="connsiteX0" fmla="*/ 0 w 9150673"/>
              <a:gd name="connsiteY0" fmla="*/ 0 h 4825853"/>
              <a:gd name="connsiteX1" fmla="*/ 9147464 w 9150673"/>
              <a:gd name="connsiteY1" fmla="*/ 0 h 4825853"/>
              <a:gd name="connsiteX2" fmla="*/ 9147463 w 9150673"/>
              <a:gd name="connsiteY2" fmla="*/ 4813176 h 4825853"/>
              <a:gd name="connsiteX3" fmla="*/ 7381875 w 9150673"/>
              <a:gd name="connsiteY3" fmla="*/ 4813896 h 4825853"/>
              <a:gd name="connsiteX4" fmla="*/ 7379060 w 9150673"/>
              <a:gd name="connsiteY4" fmla="*/ 3543300 h 4825853"/>
              <a:gd name="connsiteX5" fmla="*/ 520742 w 9150673"/>
              <a:gd name="connsiteY5" fmla="*/ 3547023 h 4825853"/>
              <a:gd name="connsiteX6" fmla="*/ 515102 w 9150673"/>
              <a:gd name="connsiteY6" fmla="*/ 4825851 h 4825853"/>
              <a:gd name="connsiteX7" fmla="*/ 2770 w 9150673"/>
              <a:gd name="connsiteY7" fmla="*/ 4817115 h 4825853"/>
              <a:gd name="connsiteX8" fmla="*/ 0 w 9150673"/>
              <a:gd name="connsiteY8" fmla="*/ 0 h 4825853"/>
              <a:gd name="connsiteX0" fmla="*/ 0 w 9150673"/>
              <a:gd name="connsiteY0" fmla="*/ 0 h 4818145"/>
              <a:gd name="connsiteX1" fmla="*/ 9147464 w 9150673"/>
              <a:gd name="connsiteY1" fmla="*/ 0 h 4818145"/>
              <a:gd name="connsiteX2" fmla="*/ 9147463 w 9150673"/>
              <a:gd name="connsiteY2" fmla="*/ 4813176 h 4818145"/>
              <a:gd name="connsiteX3" fmla="*/ 7381875 w 9150673"/>
              <a:gd name="connsiteY3" fmla="*/ 4813896 h 4818145"/>
              <a:gd name="connsiteX4" fmla="*/ 7379060 w 9150673"/>
              <a:gd name="connsiteY4" fmla="*/ 3543300 h 4818145"/>
              <a:gd name="connsiteX5" fmla="*/ 520742 w 9150673"/>
              <a:gd name="connsiteY5" fmla="*/ 3547023 h 4818145"/>
              <a:gd name="connsiteX6" fmla="*/ 515102 w 9150673"/>
              <a:gd name="connsiteY6" fmla="*/ 4818143 h 4818145"/>
              <a:gd name="connsiteX7" fmla="*/ 2770 w 9150673"/>
              <a:gd name="connsiteY7" fmla="*/ 4817115 h 4818145"/>
              <a:gd name="connsiteX8" fmla="*/ 0 w 9150673"/>
              <a:gd name="connsiteY8" fmla="*/ 0 h 4818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50673" h="4818145">
                <a:moveTo>
                  <a:pt x="0" y="0"/>
                </a:moveTo>
                <a:lnTo>
                  <a:pt x="9147464" y="0"/>
                </a:lnTo>
                <a:cubicBezTo>
                  <a:pt x="9154968" y="4079"/>
                  <a:pt x="9146880" y="4807581"/>
                  <a:pt x="9147463" y="4813176"/>
                </a:cubicBezTo>
                <a:cubicBezTo>
                  <a:pt x="9148046" y="4818771"/>
                  <a:pt x="7385663" y="4807873"/>
                  <a:pt x="7381875" y="4813896"/>
                </a:cubicBezTo>
                <a:cubicBezTo>
                  <a:pt x="7378087" y="4819919"/>
                  <a:pt x="7380515" y="3538511"/>
                  <a:pt x="7379060" y="3543300"/>
                </a:cubicBezTo>
                <a:cubicBezTo>
                  <a:pt x="7377605" y="3548089"/>
                  <a:pt x="2806848" y="3545782"/>
                  <a:pt x="520742" y="3547023"/>
                </a:cubicBezTo>
                <a:cubicBezTo>
                  <a:pt x="519025" y="3777370"/>
                  <a:pt x="515915" y="4819927"/>
                  <a:pt x="515102" y="4818143"/>
                </a:cubicBezTo>
                <a:cubicBezTo>
                  <a:pt x="514289" y="4816359"/>
                  <a:pt x="257002" y="4818169"/>
                  <a:pt x="2770" y="4817115"/>
                </a:cubicBezTo>
                <a:cubicBezTo>
                  <a:pt x="1847" y="3211410"/>
                  <a:pt x="923" y="1605705"/>
                  <a:pt x="0" y="0"/>
                </a:cubicBez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endParaRPr lang="en-GB" dirty="0"/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2449391" y="4027623"/>
            <a:ext cx="7041743" cy="1047600"/>
          </a:xfrm>
          <a:noFill/>
        </p:spPr>
        <p:txBody>
          <a:bodyPr lIns="0" tIns="0" rIns="0"/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2400" b="0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449391" y="5096741"/>
            <a:ext cx="7041743" cy="365979"/>
          </a:xfrm>
        </p:spPr>
        <p:txBody>
          <a:bodyPr anchor="b" anchorCtr="0"/>
          <a:lstStyle>
            <a:lvl1pPr marL="0" indent="0" algn="l" defTabSz="357708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449391" y="5636735"/>
            <a:ext cx="7041743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49391" y="5892934"/>
            <a:ext cx="7041743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Role in Organisation</a:t>
            </a:r>
          </a:p>
        </p:txBody>
      </p:sp>
      <p:sp>
        <p:nvSpPr>
          <p:cNvPr id="98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595959"/>
                </a:solidFill>
                <a:latin typeface="Futura Medium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>
                <a:solidFill>
                  <a:srgbClr val="595959"/>
                </a:solidFill>
              </a:rPr>
              <a:pPr/>
              <a:t>‹#›</a:t>
            </a:fld>
            <a:endParaRPr lang="en-GB" dirty="0">
              <a:solidFill>
                <a:srgbClr val="595959"/>
              </a:solidFill>
            </a:endParaRPr>
          </a:p>
        </p:txBody>
      </p:sp>
      <p:sp>
        <p:nvSpPr>
          <p:cNvPr id="10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BB5A30F6-7D17-4BAD-917D-BE9802CFB091}" type="datetime1">
              <a:rPr lang="en-US" smtClean="0">
                <a:solidFill>
                  <a:srgbClr val="595959"/>
                </a:solidFill>
              </a:rPr>
              <a:t>11/22/2022</a:t>
            </a:fld>
            <a:endParaRPr lang="en-GB" dirty="0">
              <a:solidFill>
                <a:srgbClr val="595959"/>
              </a:solidFill>
            </a:endParaRPr>
          </a:p>
        </p:txBody>
      </p:sp>
      <p:sp>
        <p:nvSpPr>
          <p:cNvPr id="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595959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9047829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4" pos="5979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Fa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1A965F04-D5B4-064C-B267-E743B79E80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3A45BAA3-DBDB-5343-8FBD-12C1973CC60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90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THE SHELL PET. DEV. CO. OF NIG. LTD.</a:t>
            </a:r>
            <a:endParaRPr lang="en-GB" sz="900" noProof="1">
              <a:solidFill>
                <a:schemeClr val="tx1"/>
              </a:solidFill>
              <a:latin typeface="Futura Medium" panose="00000400000000000000" pitchFamily="2" charset="0"/>
              <a:cs typeface="Arial" pitchFamily="34" charset="0"/>
            </a:endParaRP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CB207B55-0BDF-1243-B6E8-CBA861545F6B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01471064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19777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The Shell Pet Dev Co of Nig Ltd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8E1FAFAC-4578-48C1-B8BC-F4707614952C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174437204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The Shell Pet Dev Co of Nig Ltd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BF158F4D-15C4-4D80-AEDC-8F8B073E3766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15" name="TextBox 14" descr="CONFIDENTIAL_TAG_0xFFEE">
            <a:extLst>
              <a:ext uri="{FF2B5EF4-FFF2-40B4-BE49-F238E27FC236}">
                <a16:creationId xmlns:a16="http://schemas.microsoft.com/office/drawing/2014/main" id="{3C916A97-7763-462E-AA5A-34300FCE7322}"/>
              </a:ext>
            </a:extLst>
          </p:cNvPr>
          <p:cNvSpPr txBox="1"/>
          <p:nvPr userDrawn="1"/>
        </p:nvSpPr>
        <p:spPr>
          <a:xfrm>
            <a:off x="8590843" y="654704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773530822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{18.70866,264.5669,508.875,59.87236}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The Shell Pet Dev Co of Nig Ltd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9E4A0245-786C-42EC-B13D-9936E2D56B1F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16" name="TextBox 15" descr="CONFIDENTIAL_TAG_0xFFEE">
            <a:extLst>
              <a:ext uri="{FF2B5EF4-FFF2-40B4-BE49-F238E27FC236}">
                <a16:creationId xmlns:a16="http://schemas.microsoft.com/office/drawing/2014/main" id="{274288FF-83D9-4605-B6A5-214FC28AB6DE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40128983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{18.70866,264.5669,508.875,59.87236}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The Shell Pet Dev Co of Nig Ltd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E44D9938-D6BA-4543-B2EF-7AA36D3B6CD1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16" name="TextBox 15" descr="CONFIDENTIAL_TAG_0xFFEE">
            <a:extLst>
              <a:ext uri="{FF2B5EF4-FFF2-40B4-BE49-F238E27FC236}">
                <a16:creationId xmlns:a16="http://schemas.microsoft.com/office/drawing/2014/main" id="{67EF2929-78BF-4605-9C77-194B28725BAA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6194254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92ED0935-5997-4D83-846D-38764C76053F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4736F491-4BA2-46E1-8B64-11EFF02E4D07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92152342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C6F75C94-DFA4-465B-B7FA-EABBEA2E24E6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BBAC2A09-6E76-44CC-9D7E-B243FD8D21CE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608311683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56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825971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9F1306A9-E722-4D03-A60C-F21EAF04DAFE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48983093-AEC9-4173-9EAF-3D07813D983B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69251722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320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320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2AA94256-901E-47B3-A045-A0CC2CC2278E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67C2FF7F-73AC-4222-82C8-13356E9E20CB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461710220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38014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6968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38014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6968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38014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6968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38014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6968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6D5CA658-30B0-4049-841B-50B8F3E80EE4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28" name="TextBox 27" descr="CONFIDENTIAL_TAG_0xFFEE">
            <a:extLst>
              <a:ext uri="{FF2B5EF4-FFF2-40B4-BE49-F238E27FC236}">
                <a16:creationId xmlns:a16="http://schemas.microsoft.com/office/drawing/2014/main" id="{0E04441B-EF93-4DC0-BD58-FA7E0B45C1BB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869618658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ECCAC266-B3BE-439F-BD7F-3EC947F291F6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15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The Shell Pet Dev Co of Nig Ltd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AD02989E-D3C2-43F9-B2A8-44A2D4FE5764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997761807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873D9CDF-8402-457E-A375-7D34B28132BF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6804522C-AD06-4C54-B235-1BD5A8496C6E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474155851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DD3F3BF4-8530-4D1A-9EFE-6F9A390B2470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7FC25DDF-1E67-4875-8681-A41595EB19B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972481290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345DA000-9C4C-4C0C-86D4-D879550E394D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79" y="1438480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B5DAF3CA-32DB-4EBA-A60D-EDB7AFF1B930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293671164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06F7A66B-E90F-413C-BF2F-374504AE646D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27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The Shell Pet Dev Co of Nig Ltd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059656167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46D8B9B7-D821-49C7-BFAE-AABFBC45767A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2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The Shell Pet Dev Co of Nig Ltd</a:t>
            </a:r>
          </a:p>
        </p:txBody>
      </p:sp>
      <p:sp>
        <p:nvSpPr>
          <p:cNvPr id="6" name="TextBox 5" descr="CONFIDENTIAL_TAG_0xFFEE">
            <a:extLst>
              <a:ext uri="{FF2B5EF4-FFF2-40B4-BE49-F238E27FC236}">
                <a16:creationId xmlns:a16="http://schemas.microsoft.com/office/drawing/2014/main" id="{B7C2AFC8-5536-4CD4-9AFF-E1B7D7D4E5B9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139204221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00068" y="357949"/>
            <a:ext cx="110343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71297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0271209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 bwMode="gray">
          <a:xfrm>
            <a:off x="1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2370681" y="761998"/>
            <a:ext cx="1693312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pic>
        <p:nvPicPr>
          <p:cNvPr id="22" name="Picture 21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333" y="645968"/>
            <a:ext cx="2032000" cy="1524000"/>
          </a:xfrm>
          <a:prstGeom prst="rect">
            <a:avLst/>
          </a:prstGeom>
        </p:spPr>
      </p:pic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2371199" y="961200"/>
            <a:ext cx="9147700" cy="1584000"/>
          </a:xfrm>
          <a:noFill/>
        </p:spPr>
        <p:txBody>
          <a:bodyPr lIns="0" tIns="0" rIns="0"/>
          <a:lstStyle>
            <a:lvl1pPr algn="l" defTabSz="121917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lang="en-GB" sz="2800" b="0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371199" y="3317925"/>
            <a:ext cx="9147700" cy="748800"/>
          </a:xfrm>
        </p:spPr>
        <p:txBody>
          <a:bodyPr anchor="b" anchorCtr="0"/>
          <a:lstStyle>
            <a:lvl1pPr marL="0" indent="0" algn="l" defTabSz="357708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lang="en-GB" sz="1800" kern="1200" baseline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371200" y="4585016"/>
            <a:ext cx="7810528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371200" y="4838620"/>
            <a:ext cx="7810528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Role in Organisation</a:t>
            </a:r>
          </a:p>
        </p:txBody>
      </p:sp>
      <p:sp>
        <p:nvSpPr>
          <p:cNvPr id="10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C16BEE71-E793-4B80-B4EB-643097AC5DDF}" type="datetime1">
              <a:rPr lang="en-US" smtClean="0"/>
              <a:t>11/22/2022</a:t>
            </a:fld>
            <a:endParaRPr lang="en-GB" dirty="0"/>
          </a:p>
        </p:txBody>
      </p:sp>
      <p:sp>
        <p:nvSpPr>
          <p:cNvPr id="10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06752323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7" pos="111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33.xml"/><Relationship Id="rId7" Type="http://schemas.openxmlformats.org/officeDocument/2006/relationships/vmlDrawing" Target="../drawings/vmlDrawing3.v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1" Type="http://schemas.openxmlformats.org/officeDocument/2006/relationships/slideLayout" Target="../slideLayouts/slideLayout4.xml"/><Relationship Id="rId6" Type="http://schemas.openxmlformats.org/officeDocument/2006/relationships/theme" Target="../theme/theme2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5" Type="http://schemas.openxmlformats.org/officeDocument/2006/relationships/slideLayout" Target="../slideLayouts/slideLayout8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4" Type="http://schemas.openxmlformats.org/officeDocument/2006/relationships/slideLayout" Target="../slideLayouts/slideLayout7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50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5" Type="http://schemas.openxmlformats.org/officeDocument/2006/relationships/slideLayout" Target="../slideLayouts/slideLayout13.x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image" Target="../media/image1.emf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4" Type="http://schemas.openxmlformats.org/officeDocument/2006/relationships/slideLayout" Target="../slideLayouts/slideLayout12.xml"/><Relationship Id="rId9" Type="http://schemas.openxmlformats.org/officeDocument/2006/relationships/vmlDrawing" Target="../drawings/vmlDrawing6.v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oleObject" Target="../embeddings/oleObject6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73.xml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68.xml"/><Relationship Id="rId20" Type="http://schemas.openxmlformats.org/officeDocument/2006/relationships/tags" Target="../tags/tag72.xm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9.vml"/><Relationship Id="rId15" Type="http://schemas.openxmlformats.org/officeDocument/2006/relationships/tags" Target="../tags/tag67.xml"/><Relationship Id="rId23" Type="http://schemas.openxmlformats.org/officeDocument/2006/relationships/oleObject" Target="../embeddings/oleObject9.bin"/><Relationship Id="rId10" Type="http://schemas.openxmlformats.org/officeDocument/2006/relationships/tags" Target="../tags/tag62.xml"/><Relationship Id="rId19" Type="http://schemas.openxmlformats.org/officeDocument/2006/relationships/tags" Target="../tags/tag71.xml"/><Relationship Id="rId4" Type="http://schemas.openxmlformats.org/officeDocument/2006/relationships/theme" Target="../theme/theme4.xml"/><Relationship Id="rId9" Type="http://schemas.openxmlformats.org/officeDocument/2006/relationships/tags" Target="../tags/tag61.xml"/><Relationship Id="rId14" Type="http://schemas.openxmlformats.org/officeDocument/2006/relationships/tags" Target="../tags/tag66.xml"/><Relationship Id="rId22" Type="http://schemas.openxmlformats.org/officeDocument/2006/relationships/tags" Target="../tags/tag7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90.xml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85.xml"/><Relationship Id="rId20" Type="http://schemas.openxmlformats.org/officeDocument/2006/relationships/tags" Target="../tags/tag89.xml"/><Relationship Id="rId1" Type="http://schemas.openxmlformats.org/officeDocument/2006/relationships/slideLayout" Target="../slideLayouts/slideLayout19.xml"/><Relationship Id="rId6" Type="http://schemas.openxmlformats.org/officeDocument/2006/relationships/vmlDrawing" Target="../drawings/vmlDrawing11.vml"/><Relationship Id="rId11" Type="http://schemas.openxmlformats.org/officeDocument/2006/relationships/tags" Target="../tags/tag80.xml"/><Relationship Id="rId24" Type="http://schemas.openxmlformats.org/officeDocument/2006/relationships/oleObject" Target="../embeddings/oleObject11.bin"/><Relationship Id="rId5" Type="http://schemas.openxmlformats.org/officeDocument/2006/relationships/theme" Target="../theme/theme5.xml"/><Relationship Id="rId15" Type="http://schemas.openxmlformats.org/officeDocument/2006/relationships/tags" Target="../tags/tag84.xml"/><Relationship Id="rId23" Type="http://schemas.openxmlformats.org/officeDocument/2006/relationships/tags" Target="../tags/tag92.xml"/><Relationship Id="rId10" Type="http://schemas.openxmlformats.org/officeDocument/2006/relationships/tags" Target="../tags/tag79.xml"/><Relationship Id="rId19" Type="http://schemas.openxmlformats.org/officeDocument/2006/relationships/tags" Target="../tags/tag88.xml"/><Relationship Id="rId4" Type="http://schemas.openxmlformats.org/officeDocument/2006/relationships/slideLayout" Target="../slideLayouts/slideLayout22.xml"/><Relationship Id="rId9" Type="http://schemas.openxmlformats.org/officeDocument/2006/relationships/tags" Target="../tags/tag78.xml"/><Relationship Id="rId14" Type="http://schemas.openxmlformats.org/officeDocument/2006/relationships/tags" Target="../tags/tag83.xml"/><Relationship Id="rId22" Type="http://schemas.openxmlformats.org/officeDocument/2006/relationships/tags" Target="../tags/tag9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13" Type="http://schemas.openxmlformats.org/officeDocument/2006/relationships/tags" Target="../tags/tag100.xml"/><Relationship Id="rId18" Type="http://schemas.openxmlformats.org/officeDocument/2006/relationships/tags" Target="../tags/tag105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08.xml"/><Relationship Id="rId7" Type="http://schemas.openxmlformats.org/officeDocument/2006/relationships/vmlDrawing" Target="../drawings/vmlDrawing14.vml"/><Relationship Id="rId12" Type="http://schemas.openxmlformats.org/officeDocument/2006/relationships/tags" Target="../tags/tag99.xml"/><Relationship Id="rId17" Type="http://schemas.openxmlformats.org/officeDocument/2006/relationships/tags" Target="../tags/tag104.xml"/><Relationship Id="rId25" Type="http://schemas.openxmlformats.org/officeDocument/2006/relationships/oleObject" Target="../embeddings/oleObject14.bin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03.xml"/><Relationship Id="rId20" Type="http://schemas.openxmlformats.org/officeDocument/2006/relationships/tags" Target="../tags/tag107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6.xml"/><Relationship Id="rId11" Type="http://schemas.openxmlformats.org/officeDocument/2006/relationships/tags" Target="../tags/tag98.xml"/><Relationship Id="rId24" Type="http://schemas.openxmlformats.org/officeDocument/2006/relationships/tags" Target="../tags/tag111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102.xml"/><Relationship Id="rId23" Type="http://schemas.openxmlformats.org/officeDocument/2006/relationships/tags" Target="../tags/tag110.xml"/><Relationship Id="rId10" Type="http://schemas.openxmlformats.org/officeDocument/2006/relationships/tags" Target="../tags/tag97.xml"/><Relationship Id="rId19" Type="http://schemas.openxmlformats.org/officeDocument/2006/relationships/tags" Target="../tags/tag106.xml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96.xml"/><Relationship Id="rId14" Type="http://schemas.openxmlformats.org/officeDocument/2006/relationships/tags" Target="../tags/tag101.xml"/><Relationship Id="rId22" Type="http://schemas.openxmlformats.org/officeDocument/2006/relationships/tags" Target="../tags/tag10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13" Type="http://schemas.openxmlformats.org/officeDocument/2006/relationships/tags" Target="../tags/tag121.xml"/><Relationship Id="rId18" Type="http://schemas.openxmlformats.org/officeDocument/2006/relationships/tags" Target="../tags/tag126.xml"/><Relationship Id="rId3" Type="http://schemas.openxmlformats.org/officeDocument/2006/relationships/slideLayout" Target="../slideLayouts/slideLayout30.xml"/><Relationship Id="rId21" Type="http://schemas.openxmlformats.org/officeDocument/2006/relationships/tags" Target="../tags/tag129.xml"/><Relationship Id="rId7" Type="http://schemas.openxmlformats.org/officeDocument/2006/relationships/tags" Target="../tags/tag115.xml"/><Relationship Id="rId12" Type="http://schemas.openxmlformats.org/officeDocument/2006/relationships/tags" Target="../tags/tag120.xml"/><Relationship Id="rId17" Type="http://schemas.openxmlformats.org/officeDocument/2006/relationships/tags" Target="../tags/tag125.xml"/><Relationship Id="rId2" Type="http://schemas.openxmlformats.org/officeDocument/2006/relationships/slideLayout" Target="../slideLayouts/slideLayout29.xml"/><Relationship Id="rId16" Type="http://schemas.openxmlformats.org/officeDocument/2006/relationships/tags" Target="../tags/tag124.xml"/><Relationship Id="rId20" Type="http://schemas.openxmlformats.org/officeDocument/2006/relationships/tags" Target="../tags/tag128.xml"/><Relationship Id="rId1" Type="http://schemas.openxmlformats.org/officeDocument/2006/relationships/slideLayout" Target="../slideLayouts/slideLayout28.xml"/><Relationship Id="rId6" Type="http://schemas.openxmlformats.org/officeDocument/2006/relationships/tags" Target="../tags/tag114.xml"/><Relationship Id="rId11" Type="http://schemas.openxmlformats.org/officeDocument/2006/relationships/tags" Target="../tags/tag119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7.vml"/><Relationship Id="rId15" Type="http://schemas.openxmlformats.org/officeDocument/2006/relationships/tags" Target="../tags/tag123.xml"/><Relationship Id="rId23" Type="http://schemas.openxmlformats.org/officeDocument/2006/relationships/oleObject" Target="../embeddings/oleObject17.bin"/><Relationship Id="rId10" Type="http://schemas.openxmlformats.org/officeDocument/2006/relationships/tags" Target="../tags/tag118.xml"/><Relationship Id="rId19" Type="http://schemas.openxmlformats.org/officeDocument/2006/relationships/tags" Target="../tags/tag127.xml"/><Relationship Id="rId4" Type="http://schemas.openxmlformats.org/officeDocument/2006/relationships/theme" Target="../theme/theme7.xml"/><Relationship Id="rId9" Type="http://schemas.openxmlformats.org/officeDocument/2006/relationships/tags" Target="../tags/tag117.xml"/><Relationship Id="rId14" Type="http://schemas.openxmlformats.org/officeDocument/2006/relationships/tags" Target="../tags/tag122.xml"/><Relationship Id="rId22" Type="http://schemas.openxmlformats.org/officeDocument/2006/relationships/tags" Target="../tags/tag13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13" Type="http://schemas.openxmlformats.org/officeDocument/2006/relationships/tags" Target="../tags/tag138.xml"/><Relationship Id="rId18" Type="http://schemas.openxmlformats.org/officeDocument/2006/relationships/tags" Target="../tags/tag143.xml"/><Relationship Id="rId3" Type="http://schemas.openxmlformats.org/officeDocument/2006/relationships/slideLayout" Target="../slideLayouts/slideLayout33.xml"/><Relationship Id="rId21" Type="http://schemas.openxmlformats.org/officeDocument/2006/relationships/tags" Target="../tags/tag146.xml"/><Relationship Id="rId7" Type="http://schemas.openxmlformats.org/officeDocument/2006/relationships/tags" Target="../tags/tag132.xml"/><Relationship Id="rId12" Type="http://schemas.openxmlformats.org/officeDocument/2006/relationships/tags" Target="../tags/tag137.xml"/><Relationship Id="rId17" Type="http://schemas.openxmlformats.org/officeDocument/2006/relationships/tags" Target="../tags/tag14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141.xml"/><Relationship Id="rId20" Type="http://schemas.openxmlformats.org/officeDocument/2006/relationships/tags" Target="../tags/tag145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19.vml"/><Relationship Id="rId11" Type="http://schemas.openxmlformats.org/officeDocument/2006/relationships/tags" Target="../tags/tag136.xml"/><Relationship Id="rId24" Type="http://schemas.openxmlformats.org/officeDocument/2006/relationships/oleObject" Target="../embeddings/oleObject19.bin"/><Relationship Id="rId5" Type="http://schemas.openxmlformats.org/officeDocument/2006/relationships/theme" Target="../theme/theme8.xml"/><Relationship Id="rId15" Type="http://schemas.openxmlformats.org/officeDocument/2006/relationships/tags" Target="../tags/tag140.xml"/><Relationship Id="rId23" Type="http://schemas.openxmlformats.org/officeDocument/2006/relationships/tags" Target="../tags/tag148.xml"/><Relationship Id="rId10" Type="http://schemas.openxmlformats.org/officeDocument/2006/relationships/tags" Target="../tags/tag135.xml"/><Relationship Id="rId19" Type="http://schemas.openxmlformats.org/officeDocument/2006/relationships/tags" Target="../tags/tag144.xml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134.xml"/><Relationship Id="rId14" Type="http://schemas.openxmlformats.org/officeDocument/2006/relationships/tags" Target="../tags/tag139.xml"/><Relationship Id="rId22" Type="http://schemas.openxmlformats.org/officeDocument/2006/relationships/tags" Target="../tags/tag14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9" Type="http://schemas.openxmlformats.org/officeDocument/2006/relationships/image" Target="../media/image8.emf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34" Type="http://schemas.openxmlformats.org/officeDocument/2006/relationships/slideLayout" Target="../slideLayouts/slideLayout68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slideLayout" Target="../slideLayouts/slideLayout67.xml"/><Relationship Id="rId38" Type="http://schemas.openxmlformats.org/officeDocument/2006/relationships/oleObject" Target="../embeddings/oleObject21.bin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slideLayout" Target="../slideLayouts/slideLayout66.xml"/><Relationship Id="rId37" Type="http://schemas.openxmlformats.org/officeDocument/2006/relationships/tags" Target="../tags/tag150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36" Type="http://schemas.openxmlformats.org/officeDocument/2006/relationships/vmlDrawing" Target="../drawings/vmlDrawing21.v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slideLayout" Target="../slideLayouts/slideLayout65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Relationship Id="rId35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457297289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7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2" r:id="rId1"/>
    <p:sldLayoutId id="2147483840" r:id="rId2"/>
    <p:sldLayoutId id="2147483664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 userDrawn="1">
          <p15:clr>
            <a:srgbClr val="F26B43"/>
          </p15:clr>
        </p15:guide>
        <p15:guide id="2" pos="312" userDrawn="1">
          <p15:clr>
            <a:srgbClr val="F26B43"/>
          </p15:clr>
        </p15:guide>
        <p15:guide id="3" pos="7368" userDrawn="1">
          <p15:clr>
            <a:srgbClr val="F26B43"/>
          </p15:clr>
        </p15:guide>
        <p15:guide id="4" orient="horz" pos="424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485086612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9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946126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5" r:id="rId1"/>
    <p:sldLayoutId id="2147484096" r:id="rId2"/>
    <p:sldLayoutId id="2147484097" r:id="rId3"/>
    <p:sldLayoutId id="2147484099" r:id="rId4"/>
    <p:sldLayoutId id="2147484101" r:id="rId5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9211252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11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69741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7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876468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8" r:id="rId1"/>
    <p:sldLayoutId id="2147484119" r:id="rId2"/>
    <p:sldLayoutId id="2147484120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8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464621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  <p:sldLayoutId id="2147484178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9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72644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9" r:id="rId1"/>
    <p:sldLayoutId id="2147484230" r:id="rId2"/>
    <p:sldLayoutId id="2147484231" r:id="rId3"/>
    <p:sldLayoutId id="2147484233" r:id="rId4"/>
    <p:sldLayoutId id="2147484234" r:id="rId5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/>
            <a:endParaRPr lang="en-US" sz="6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3" y="623131"/>
            <a:ext cx="11188689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4"/>
            <a:ext cx="46647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9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3" y="993244"/>
            <a:ext cx="1118868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374721"/>
            <a:ext cx="5853024" cy="387119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2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3" y="6502092"/>
            <a:ext cx="11188689" cy="270106"/>
            <a:chOff x="172517" y="5882833"/>
            <a:chExt cx="8796540" cy="270106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82833"/>
              <a:ext cx="8796540" cy="923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6675" indent="-66675">
                <a:defRPr/>
              </a:pPr>
              <a:r>
                <a:rPr lang="en-US" sz="6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60606"/>
              <a:ext cx="8252075" cy="923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260747" indent="-260747" defTabSz="671513">
                <a:tabLst>
                  <a:tab pos="259556" algn="l"/>
                </a:tabLst>
              </a:pPr>
              <a:r>
                <a:rPr lang="en-US" sz="6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600521" y="6679868"/>
            <a:ext cx="96180" cy="92333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600" smtClean="0"/>
              <a:pPr lvl="0" algn="r"/>
              <a:t>‹#›</a:t>
            </a:fld>
            <a:endParaRPr lang="en-US" sz="6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7"/>
            <a:ext cx="600249" cy="984251"/>
            <a:chOff x="7835905" y="279400"/>
            <a:chExt cx="600249" cy="984251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908224" cy="684600"/>
            <a:chOff x="7540629" y="279400"/>
            <a:chExt cx="908224" cy="684600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666924" cy="1306516"/>
            <a:chOff x="7769225" y="250825"/>
            <a:chExt cx="666924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94901" y="739934"/>
            <a:ext cx="301813" cy="120033"/>
            <a:chOff x="8438963" y="285750"/>
            <a:chExt cx="301812" cy="120033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438963" y="285750"/>
              <a:ext cx="301812" cy="1200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71513">
                <a:buClr>
                  <a:srgbClr val="002960"/>
                </a:buClr>
              </a:pPr>
              <a:r>
                <a:rPr lang="en-GB" sz="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438963" y="285750"/>
              <a:ext cx="0" cy="120033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438963" y="405783"/>
              <a:ext cx="301812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7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60567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8" r:id="rId1"/>
    <p:sldLayoutId id="2147484259" r:id="rId2"/>
    <p:sldLayoutId id="2147484260" r:id="rId3"/>
  </p:sldLayoutIdLst>
  <p:hf hdr="0" ftr="0" dt="0"/>
  <p:txStyles>
    <p:titleStyle>
      <a:lvl1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sz="165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48205" indent="-14699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349861" indent="-200441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470126" indent="-11905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234">
          <p15:clr>
            <a:srgbClr val="F26B43"/>
          </p15:clr>
        </p15:guide>
        <p15:guide id="3" pos="5526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8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62506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3" r:id="rId1"/>
    <p:sldLayoutId id="2147484264" r:id="rId2"/>
    <p:sldLayoutId id="2147484265" r:id="rId3"/>
    <p:sldLayoutId id="2147484267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525641EA-80A8-42AF-AEE5-731EE068C70C}" type="datetime1">
              <a:rPr lang="en-US" noProof="1" smtClean="0"/>
              <a:t>11/22/2022</a:t>
            </a:fld>
            <a:endParaRPr lang="en-GB" noProof="1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noProof="1"/>
              <a:t>Footer</a:t>
            </a:r>
            <a:endParaRPr lang="en-GB" noProof="1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id="{8BCA30CB-A900-4B22-832E-9BCC3440B8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3874027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38" imgW="415" imgH="416" progId="TCLayout.ActiveDocument.1">
                  <p:embed/>
                </p:oleObj>
              </mc:Choice>
              <mc:Fallback>
                <p:oleObj name="think-cell Slide" r:id="rId38" imgW="415" imgH="416" progId="TCLayout.ActiveDocument.1">
                  <p:embed/>
                  <p:pic>
                    <p:nvPicPr>
                      <p:cNvPr id="36" name="Object 35" hidden="1">
                        <a:extLst>
                          <a:ext uri="{FF2B5EF4-FFF2-40B4-BE49-F238E27FC236}">
                            <a16:creationId xmlns:a16="http://schemas.microsoft.com/office/drawing/2014/main" id="{8BCA30CB-A900-4B22-832E-9BCC3440B8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descr="&lt;Shell Yellow Bar&gt;" title="&lt;Shell Yellow Bar&gt;">
            <a:extLst>
              <a:ext uri="{FF2B5EF4-FFF2-40B4-BE49-F238E27FC236}">
                <a16:creationId xmlns:a16="http://schemas.microsoft.com/office/drawing/2014/main" id="{EAC04FEB-C905-4D2A-B0B2-AF3618FE93E6}"/>
              </a:ext>
            </a:extLst>
          </p:cNvPr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8" name="Text Box 11" descr="&lt;COMPANY_NAME&gt;{18.70866,264.5669,509.3857,40.33535}">
            <a:extLst>
              <a:ext uri="{FF2B5EF4-FFF2-40B4-BE49-F238E27FC236}">
                <a16:creationId xmlns:a16="http://schemas.microsoft.com/office/drawing/2014/main" id="{7A95E892-83F6-4229-9E07-7049B1F7804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The Shell Pet Dev Co of Nig Ltd</a:t>
            </a:r>
          </a:p>
        </p:txBody>
      </p:sp>
    </p:spTree>
    <p:extLst>
      <p:ext uri="{BB962C8B-B14F-4D97-AF65-F5344CB8AC3E}">
        <p14:creationId xmlns:p14="http://schemas.microsoft.com/office/powerpoint/2010/main" val="1314555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1" r:id="rId1"/>
    <p:sldLayoutId id="2147484272" r:id="rId2"/>
    <p:sldLayoutId id="2147484273" r:id="rId3"/>
    <p:sldLayoutId id="2147484274" r:id="rId4"/>
    <p:sldLayoutId id="2147484275" r:id="rId5"/>
    <p:sldLayoutId id="2147484276" r:id="rId6"/>
    <p:sldLayoutId id="2147484277" r:id="rId7"/>
    <p:sldLayoutId id="2147484278" r:id="rId8"/>
    <p:sldLayoutId id="2147484279" r:id="rId9"/>
    <p:sldLayoutId id="2147484280" r:id="rId10"/>
    <p:sldLayoutId id="2147484281" r:id="rId11"/>
    <p:sldLayoutId id="2147484282" r:id="rId12"/>
    <p:sldLayoutId id="2147484283" r:id="rId13"/>
    <p:sldLayoutId id="2147484284" r:id="rId14"/>
    <p:sldLayoutId id="2147484285" r:id="rId15"/>
    <p:sldLayoutId id="2147484286" r:id="rId16"/>
    <p:sldLayoutId id="2147484287" r:id="rId17"/>
    <p:sldLayoutId id="2147484288" r:id="rId18"/>
    <p:sldLayoutId id="2147484289" r:id="rId19"/>
    <p:sldLayoutId id="2147484290" r:id="rId20"/>
    <p:sldLayoutId id="2147484291" r:id="rId21"/>
    <p:sldLayoutId id="2147484292" r:id="rId22"/>
    <p:sldLayoutId id="2147484293" r:id="rId23"/>
    <p:sldLayoutId id="2147484294" r:id="rId24"/>
    <p:sldLayoutId id="2147484295" r:id="rId25"/>
    <p:sldLayoutId id="2147484296" r:id="rId26"/>
    <p:sldLayoutId id="2147484297" r:id="rId27"/>
    <p:sldLayoutId id="2147484298" r:id="rId28"/>
    <p:sldLayoutId id="2147484299" r:id="rId29"/>
    <p:sldLayoutId id="2147484300" r:id="rId30"/>
    <p:sldLayoutId id="2147484301" r:id="rId31"/>
    <p:sldLayoutId id="2147484302" r:id="rId32"/>
    <p:sldLayoutId id="2147484303" r:id="rId33"/>
    <p:sldLayoutId id="2147484304" r:id="rId34"/>
  </p:sldLayoutIdLst>
  <p:transition>
    <p:fade/>
  </p:transition>
  <p:hf hdr="0" ftr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023BC62-2409-484D-B077-43264C095B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023BC62-2409-484D-B077-43264C095B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BAE6A-B452-4007-8177-56DD051636F9}" type="slidenum">
              <a:rPr kumimoji="0" lang="en-CA" sz="8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hellBook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CA" sz="8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hellBook" pitchFamily="2" charset="0"/>
              <a:ea typeface="+mn-ea"/>
              <a:cs typeface="Arial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D6E3537-EF58-4746-9847-1BDFAF477E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7358913"/>
              </p:ext>
            </p:extLst>
          </p:nvPr>
        </p:nvGraphicFramePr>
        <p:xfrm>
          <a:off x="141199" y="404037"/>
          <a:ext cx="11859211" cy="62029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30252">
                  <a:extLst>
                    <a:ext uri="{9D8B030D-6E8A-4147-A177-3AD203B41FA5}">
                      <a16:colId xmlns:a16="http://schemas.microsoft.com/office/drawing/2014/main" val="4219098395"/>
                    </a:ext>
                  </a:extLst>
                </a:gridCol>
                <a:gridCol w="818606">
                  <a:extLst>
                    <a:ext uri="{9D8B030D-6E8A-4147-A177-3AD203B41FA5}">
                      <a16:colId xmlns:a16="http://schemas.microsoft.com/office/drawing/2014/main" val="3410549389"/>
                    </a:ext>
                  </a:extLst>
                </a:gridCol>
                <a:gridCol w="1114697">
                  <a:extLst>
                    <a:ext uri="{9D8B030D-6E8A-4147-A177-3AD203B41FA5}">
                      <a16:colId xmlns:a16="http://schemas.microsoft.com/office/drawing/2014/main" val="2144067072"/>
                    </a:ext>
                  </a:extLst>
                </a:gridCol>
                <a:gridCol w="1105989">
                  <a:extLst>
                    <a:ext uri="{9D8B030D-6E8A-4147-A177-3AD203B41FA5}">
                      <a16:colId xmlns:a16="http://schemas.microsoft.com/office/drawing/2014/main" val="964239196"/>
                    </a:ext>
                  </a:extLst>
                </a:gridCol>
                <a:gridCol w="1184366">
                  <a:extLst>
                    <a:ext uri="{9D8B030D-6E8A-4147-A177-3AD203B41FA5}">
                      <a16:colId xmlns:a16="http://schemas.microsoft.com/office/drawing/2014/main" val="2847994182"/>
                    </a:ext>
                  </a:extLst>
                </a:gridCol>
                <a:gridCol w="1236617">
                  <a:extLst>
                    <a:ext uri="{9D8B030D-6E8A-4147-A177-3AD203B41FA5}">
                      <a16:colId xmlns:a16="http://schemas.microsoft.com/office/drawing/2014/main" val="531684424"/>
                    </a:ext>
                  </a:extLst>
                </a:gridCol>
                <a:gridCol w="3106230">
                  <a:extLst>
                    <a:ext uri="{9D8B030D-6E8A-4147-A177-3AD203B41FA5}">
                      <a16:colId xmlns:a16="http://schemas.microsoft.com/office/drawing/2014/main" val="1711537870"/>
                    </a:ext>
                  </a:extLst>
                </a:gridCol>
                <a:gridCol w="2162454">
                  <a:extLst>
                    <a:ext uri="{9D8B030D-6E8A-4147-A177-3AD203B41FA5}">
                      <a16:colId xmlns:a16="http://schemas.microsoft.com/office/drawing/2014/main" val="2187757482"/>
                    </a:ext>
                  </a:extLst>
                </a:gridCol>
              </a:tblGrid>
              <a:tr h="43872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Futura Medium" panose="00000400000000000000" pitchFamily="2" charset="0"/>
                          <a:ea typeface="Calibri" panose="020F0502020204030204" pitchFamily="34" charset="0"/>
                        </a:rPr>
                        <a:t>Week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Futura Medium" panose="00000400000000000000" pitchFamily="2" charset="0"/>
                        </a:rPr>
                        <a:t>Well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Futura Medium" panose="00000400000000000000" pitchFamily="2" charset="0"/>
                        </a:rPr>
                        <a:t>Count</a:t>
                      </a:r>
                      <a:endParaRPr lang="en-US" sz="1600" dirty="0">
                        <a:effectLst/>
                        <a:latin typeface="Futura Medium" panose="00000400000000000000" pitchFamily="2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effectLst/>
                          <a:latin typeface="Futura Medium" panose="00000400000000000000" pitchFamily="2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600" dirty="0">
                          <a:effectLst/>
                          <a:latin typeface="Futura Medium" panose="00000400000000000000" pitchFamily="2" charset="0"/>
                        </a:rPr>
                        <a:t>Well Name</a:t>
                      </a:r>
                      <a:endParaRPr lang="en-US" sz="1600" dirty="0">
                        <a:effectLst/>
                        <a:latin typeface="Futura Medium" panose="00000400000000000000" pitchFamily="2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effectLst/>
                        <a:latin typeface="Futura Medium" panose="00000400000000000000" pitchFamily="2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Futura Medium" panose="00000400000000000000" pitchFamily="2" charset="0"/>
                          <a:ea typeface="Calibri" panose="020F0502020204030204" pitchFamily="34" charset="0"/>
                        </a:rPr>
                        <a:t>Expected Gain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Futura Medium" panose="00000400000000000000" pitchFamily="2" charset="0"/>
                          <a:ea typeface="Calibri" panose="020F0502020204030204" pitchFamily="34" charset="0"/>
                        </a:rPr>
                        <a:t>Validated Gain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Futura Medium" panose="00000400000000000000" pitchFamily="2" charset="0"/>
                          <a:ea typeface="Calibri" panose="020F0502020204030204" pitchFamily="34" charset="0"/>
                        </a:rPr>
                        <a:t>Week 44 Summary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Futura Medium" panose="00000400000000000000" pitchFamily="2" charset="0"/>
                          <a:ea typeface="Calibri" panose="020F0502020204030204" pitchFamily="34" charset="0"/>
                        </a:rPr>
                        <a:t>Support Required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509699364"/>
                  </a:ext>
                </a:extLst>
              </a:tr>
              <a:tr h="438721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Week 44 </a:t>
                      </a:r>
                      <a:r>
                        <a:rPr lang="en-US" sz="1600" kern="1200">
                          <a:solidFill>
                            <a:schemeClr val="bg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(04/11)</a:t>
                      </a:r>
                      <a:endParaRPr lang="en-US" sz="1600" kern="1200" dirty="0">
                        <a:solidFill>
                          <a:schemeClr val="bg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u="sng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TUNU PU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rgbClr val="00B050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TUNU014S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rgbClr val="00B050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KANB006T 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n-US" sz="90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dirty="0">
                          <a:effectLst/>
                          <a:latin typeface="Futura Medium" panose="00000400000000000000" pitchFamily="2" charset="0"/>
                        </a:rPr>
                        <a:t>784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rgbClr val="00B050"/>
                          </a:solidFill>
                          <a:effectLst/>
                          <a:latin typeface="Futura Medium" panose="00000400000000000000" pitchFamily="2" charset="0"/>
                        </a:rPr>
                        <a:t>1,519</a:t>
                      </a:r>
                    </a:p>
                  </a:txBody>
                  <a:tcPr marL="68580" marR="68580" marT="0" marB="0" anchor="ctr"/>
                </a:tc>
                <a:tc rowSpan="7"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endParaRPr lang="en-US" sz="12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 week: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endParaRPr lang="en-US" sz="12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2Kbopd realized from 8oo39 bean-ups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ü"/>
                      </a:pPr>
                      <a:endParaRPr lang="en-US" sz="12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indent="0">
                        <a:buFont typeface="Wingdings" panose="05000000000000000000" pitchFamily="2" charset="2"/>
                        <a:buNone/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week: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ü"/>
                      </a:pPr>
                      <a:endParaRPr lang="en-US" sz="12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est &amp; resample the 8oo39 wells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ü"/>
                      </a:pPr>
                      <a:endParaRPr lang="en-US" sz="12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lete 11oo39 bean-ups (3Kbopd), test &amp; sample</a:t>
                      </a:r>
                      <a:endParaRPr lang="en-US" sz="11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 rowSpan="7"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endParaRPr lang="en-US" sz="1200" i="1" dirty="0">
                        <a:solidFill>
                          <a:schemeClr val="tx1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endParaRPr lang="en-US" sz="1200" i="1" dirty="0">
                        <a:solidFill>
                          <a:schemeClr val="tx1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51603588"/>
                  </a:ext>
                </a:extLst>
              </a:tr>
              <a:tr h="747089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Week 45 (11/11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u="sng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TUNU PU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rgbClr val="00B050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BENS017S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rgbClr val="00B050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OGBO005T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rgbClr val="00B050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OGBO008T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rgbClr val="00B050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OGBO013T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rgbClr val="00B050"/>
                          </a:solidFill>
                          <a:effectLst/>
                          <a:latin typeface="Futura Medium" panose="00000400000000000000" pitchFamily="2" charset="0"/>
                          <a:ea typeface="Calibri" panose="020F0502020204030204" pitchFamily="34" charset="0"/>
                          <a:cs typeface="+mn-cs"/>
                        </a:rPr>
                        <a:t>OPNO003L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u="sng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Calibri" panose="020F0502020204030204" pitchFamily="34" charset="0"/>
                          <a:cs typeface="+mn-cs"/>
                        </a:rPr>
                        <a:t>OTUMARA PU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ESCB001L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ESCB001S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u="sng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ORC PU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Calibri" panose="020F0502020204030204" pitchFamily="34" charset="0"/>
                          <a:cs typeface="+mn-cs"/>
                        </a:rPr>
                        <a:t>FORC046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Calibri" panose="020F0502020204030204" pitchFamily="34" charset="0"/>
                          <a:cs typeface="+mn-cs"/>
                        </a:rPr>
                        <a:t>1,808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rgbClr val="00B050"/>
                          </a:solidFill>
                          <a:effectLst/>
                          <a:latin typeface="Futura Medium" panose="00000400000000000000" pitchFamily="2" charset="0"/>
                          <a:ea typeface="Calibri" panose="020F0502020204030204" pitchFamily="34" charset="0"/>
                          <a:cs typeface="+mn-cs"/>
                        </a:rPr>
                        <a:t>2,294</a:t>
                      </a: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Futura Medium" panose="00000400000000000000" pitchFamily="2" charset="0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12741"/>
                  </a:ext>
                </a:extLst>
              </a:tr>
              <a:tr h="987123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Week 46 (18/11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u="sng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Calibri" panose="020F0502020204030204" pitchFamily="34" charset="0"/>
                          <a:cs typeface="+mn-cs"/>
                        </a:rPr>
                        <a:t>TUNU PU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KANB008T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u="sng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ORC PU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ORC048S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ORC064T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ORC122S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ORC146T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ORC141L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n-US" sz="900" kern="1200" dirty="0">
                        <a:solidFill>
                          <a:schemeClr val="tx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1,486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kern="1200" dirty="0">
                        <a:solidFill>
                          <a:schemeClr val="tx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5159436"/>
                  </a:ext>
                </a:extLst>
              </a:tr>
              <a:tr h="616952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Week 47 (25/11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u="sng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ORC PU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ORC141S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ORC143T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rgbClr val="00B050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ORC126L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u="sng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Calibri" panose="020F0502020204030204" pitchFamily="34" charset="0"/>
                          <a:cs typeface="+mn-cs"/>
                        </a:rPr>
                        <a:t>OTUMARA PU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AFRE004L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AFRE004S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OTUM012L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OTUM036L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1,673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rgbClr val="00B050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137</a:t>
                      </a: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kern="1200" dirty="0">
                        <a:solidFill>
                          <a:schemeClr val="tx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5865571"/>
                  </a:ext>
                </a:extLst>
              </a:tr>
              <a:tr h="638334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Week 48 (02/12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u="sng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ORC PU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ORC131L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ORC133T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ORC065L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ORC073L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u="sng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Calibri" panose="020F0502020204030204" pitchFamily="34" charset="0"/>
                          <a:cs typeface="+mn-cs"/>
                        </a:rPr>
                        <a:t>OTUMARA PU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OTUM017T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OTUM057T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OTUM033L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ESCB015L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2,016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kern="1200" dirty="0">
                        <a:solidFill>
                          <a:schemeClr val="tx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9812812"/>
                  </a:ext>
                </a:extLst>
              </a:tr>
              <a:tr h="447344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Week 49 (09/12)</a:t>
                      </a:r>
                      <a:endParaRPr lang="en-US" sz="1600" i="1" kern="1200" dirty="0">
                        <a:solidFill>
                          <a:schemeClr val="bg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u="sng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TUNU PU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OGBO009T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OPUK005S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TUNU008T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KANB004L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KANB009T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u="sng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ORC PU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ORC084S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ORC142L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1,714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kern="1200" dirty="0">
                        <a:solidFill>
                          <a:schemeClr val="tx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2075286"/>
                  </a:ext>
                </a:extLst>
              </a:tr>
              <a:tr h="694360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To be determined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u="sng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TUNU PU</a:t>
                      </a:r>
                    </a:p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AJAT001L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228600" marR="0" lvl="0" indent="-2286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n-US" sz="900" kern="1200" dirty="0">
                        <a:solidFill>
                          <a:schemeClr val="tx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374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kern="1200" dirty="0">
                        <a:solidFill>
                          <a:schemeClr val="tx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4824796"/>
                  </a:ext>
                </a:extLst>
              </a:tr>
              <a:tr h="418444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68580" marR="68580" marT="0" marB="0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As listed</a:t>
                      </a: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9,857</a:t>
                      </a:r>
                    </a:p>
                  </a:txBody>
                  <a:tcPr marL="68580" marR="6858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3,950</a:t>
                      </a: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700804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4C5C2D89-888F-49DC-8174-439A1DB46A82}"/>
              </a:ext>
            </a:extLst>
          </p:cNvPr>
          <p:cNvSpPr/>
          <p:nvPr/>
        </p:nvSpPr>
        <p:spPr>
          <a:xfrm>
            <a:off x="-2" y="0"/>
            <a:ext cx="3788231" cy="404037"/>
          </a:xfrm>
          <a:prstGeom prst="rect">
            <a:avLst/>
          </a:prstGeom>
          <a:solidFill>
            <a:srgbClr val="003C8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West WOE Execution Plan</a:t>
            </a:r>
          </a:p>
        </p:txBody>
      </p:sp>
    </p:spTree>
    <p:extLst>
      <p:ext uri="{BB962C8B-B14F-4D97-AF65-F5344CB8AC3E}">
        <p14:creationId xmlns:p14="http://schemas.microsoft.com/office/powerpoint/2010/main" val="1551562205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ACCENT" val="4"/>
  <p:tag name="LINE" val="2"/>
  <p:tag name="MTBTACCENT" val="Accent2"/>
  <p:tag name="ISNEWSLIDENUMBER" val="False"/>
  <p:tag name="PREVIOUSNAME" val="C:\Users\Dara Olufon\Box Sync\Nigeria - FFtF 2017\3. Presentations\LT cadence deck\LT cadence 6th March\20170302 LT cadence deck 6th March v7.pptx"/>
  <p:tag name="THINKCELLPRESENTATIONDONOTDELETE" val="&lt;?xml version=&quot;1.0&quot; encoding=&quot;UTF-16&quot; standalone=&quot;yes&quot;?&gt;&lt;root reqver=&quot;25060&quot;&gt;&lt;version val=&quot;2800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9.97230640022824843527E+00&quot;&gt;&lt;m_msothmcolidx val=&quot;0&quot;/&gt;&lt;m_rgb r=&quot;0E&quot; g=&quot;EB&quot; b=&quot;29&quot;/&gt;&lt;m_nBrightness endver=&quot;26206&quot; val=&quot;0&quot;/&gt;&lt;/elem&gt;&lt;elem m_fUsage=&quot;3.04325272217045731185E-03&quot;&gt;&lt;m_msothmcolidx val=&quot;0&quot;/&gt;&lt;m_rgb r=&quot;9C&quot; g=&quot;E7&quot; b=&quot;FC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3.xml><?xml version="1.0" encoding="utf-8"?>
<a:theme xmlns:a="http://schemas.openxmlformats.org/drawingml/2006/main" name="2_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4.xml><?xml version="1.0" encoding="utf-8"?>
<a:theme xmlns:a="http://schemas.openxmlformats.org/drawingml/2006/main" name="3_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5.xml><?xml version="1.0" encoding="utf-8"?>
<a:theme xmlns:a="http://schemas.openxmlformats.org/drawingml/2006/main" name="4_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6.xml><?xml version="1.0" encoding="utf-8"?>
<a:theme xmlns:a="http://schemas.openxmlformats.org/drawingml/2006/main" name="16_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7.xml><?xml version="1.0" encoding="utf-8"?>
<a:theme xmlns:a="http://schemas.openxmlformats.org/drawingml/2006/main" name="10_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8.xml><?xml version="1.0" encoding="utf-8"?>
<a:theme xmlns:a="http://schemas.openxmlformats.org/drawingml/2006/main" name="11_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9.xml><?xml version="1.0" encoding="utf-8"?>
<a:theme xmlns:a="http://schemas.openxmlformats.org/drawingml/2006/main" name="Wisp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AEFAssetIdentifier xmlns="http://schemas.microsoft.com/sharepoint/v3" xsi:nil="true"/>
    <SAEFIsRecord xmlns="http://schemas.microsoft.com/sharepoint/v3" xsi:nil="true"/>
    <SAEFOwner xmlns="http://schemas.microsoft.com/sharepoint/v3" xsi:nil="true"/>
    <SAEFDeclarer xmlns="http://schemas.microsoft.com/sharepoint/v3" xsi:nil="true"/>
    <SAEFDocumentTyp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siness Plans [ARM]</TermName>
          <TermId xmlns="http://schemas.microsoft.com/office/infopath/2007/PartnerControls">59d2480a-ae43-41cf-ab8c-fb8985b4f788</TermId>
        </TermInfo>
      </Terms>
    </SAEFDocumentTypeTaxHTField0>
    <SAEFLanguag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bd3ad5ee-f0c3-40aa-8cc8-36ef09940af3</TermId>
        </TermInfo>
      </Terms>
    </SAEFLanguageTaxHTField0>
    <SAEFFilePlanRecordType xmlns="http://schemas.microsoft.com/sharepoint/v3" xsi:nil="true"/>
    <IconOverlay xmlns="http://schemas.microsoft.com/sharepoint/v4" xsi:nil="true"/>
    <SAEFCollection xmlns="http://schemas.microsoft.com/sharepoint/v3">false</SAEFCollection>
    <SAEFDocumentStatu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raft</TermName>
          <TermId xmlns="http://schemas.microsoft.com/office/infopath/2007/PartnerControls">1c86f377-7d91-4c95-bd5b-c18c83fe0aa5</TermId>
        </TermInfo>
      </Terms>
    </SAEFDocumentStatusTaxHTField0>
    <SAEFBusinessProc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All - Records Management</TermName>
          <TermId xmlns="http://schemas.microsoft.com/office/infopath/2007/PartnerControls">1f68a0f2-47ab-4887-8df5-7c0616d5ad90</TermId>
        </TermInfo>
      </Terms>
    </SAEFBusinessProcessTaxHTField0>
    <SAEFLegalEntity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The Shell Petroleum Development Company Of Nigeria Limited</TermName>
          <TermId xmlns="http://schemas.microsoft.com/office/infopath/2007/PartnerControls">b482a97d-f8dd-41c8-ab1c-99b8408fd22e</TermId>
        </TermInfo>
      </Terms>
    </SAEFLegalEntityTaxHTField0>
    <SAEFRecordStatus xmlns="http://schemas.microsoft.com/sharepoint/v3" xsi:nil="true"/>
    <SAEFTRIMRecordNumber xmlns="http://schemas.microsoft.com/sharepoint/v3" xsi:nil="true"/>
    <SAEFBusin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pstream International</TermName>
          <TermId xmlns="http://schemas.microsoft.com/office/infopath/2007/PartnerControls">dabf15d9-4f75-4ed1-b8a1-a0c3e2a85888</TermId>
        </TermInfo>
      </Terms>
    </SAEFBusinessTaxHTField0>
    <SAEFExportControl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n-US content - Non Controlled</TermName>
          <TermId xmlns="http://schemas.microsoft.com/office/infopath/2007/PartnerControls">2ac8835e-0587-4096-a6e2-1f68da1e6cb3</TermId>
        </TermInfo>
      </Terms>
    </SAEFExportControlClassificationTaxHTField0>
    <SAEFBusinessUnitReg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pstream International</TermName>
          <TermId xmlns="http://schemas.microsoft.com/office/infopath/2007/PartnerControls">dabf15d9-4f75-4ed1-b8a1-a0c3e2a85888</TermId>
        </TermInfo>
      </Terms>
    </SAEFBusinessUnitRegionTaxHTField0>
    <SAEFGlobalFun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ddce64fb-3cb8-4cd9-8e3d-0fe554247fd1</TermId>
        </TermInfo>
      </Terms>
    </SAEFGlobalFunctionTaxHTField0>
    <SAEFWorkgroupID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pstream _ Single File Plan - 22022</TermName>
          <TermId xmlns="http://schemas.microsoft.com/office/infopath/2007/PartnerControls">d3ed65c1-761d-4a84-a678-924ffd6ed182</TermId>
        </TermInfo>
      </Terms>
    </SAEFWorkgroupIDTaxHTField0>
    <SAEFCountryOfJurisdi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IGERIA</TermName>
          <TermId xmlns="http://schemas.microsoft.com/office/infopath/2007/PartnerControls">973e3eb3-a5f9-4712-a628-787e048af9f3</TermId>
        </TermInfo>
      </Terms>
    </SAEFCountryOfJurisdictionTaxHTField0>
    <SAEFKeepFileLocal xmlns="http://schemas.microsoft.com/sharepoint/v3">false</SAEFKeepFileLocal>
    <SAEFSecurity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stricted</TermName>
          <TermId xmlns="http://schemas.microsoft.com/office/infopath/2007/PartnerControls">21aa7f98-4035-4019-a764-107acb7269af</TermId>
        </TermInfo>
      </Terms>
    </SAEFSecurityClassificationTaxHTField0>
    <SAEFSiteOwner xmlns="http://schemas.microsoft.com/sharepoint/v3">i:0#.w|africa-me\its-app-imnga-s</SAEFSiteOwner>
    <SAEFSiteCollectionName xmlns="http://schemas.microsoft.com/sharepoint/v3">SCiN Transformation Team</SAEFSiteCollectionName>
    <TaxCatchAll xmlns="42099b78-aeef-456d-b5fd-c8cc8be2b78d">
      <Value>10</Value>
      <Value>27</Value>
      <Value>8</Value>
      <Value>7</Value>
      <Value>9</Value>
      <Value>5</Value>
      <Value>4</Value>
      <Value>3</Value>
      <Value>2</Value>
      <Value>1</Value>
      <Value>6</Value>
    </TaxCatchAll>
    <_dlc_DocId xmlns="42099b78-aeef-456d-b5fd-c8cc8be2b78d">AFFAA0824-2060887869-1578</_dlc_DocId>
    <_dlc_DocIdUrl xmlns="42099b78-aeef-456d-b5fd-c8cc8be2b78d">
      <Url>https://nga001-sp.shell.com/sites/AFFAA0824/_layouts/15/DocIdRedir.aspx?ID=AFFAA0824-2060887869-1578</Url>
      <Description>AFFAA0824-2060887869-1578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Shell Document" ma:contentTypeID="0x0101006F0A470EEB1140E7AA14F4CE8A50B54C0001CB1477F4DD432AA86DD56CC3887AF4007838DEC0B14A4B4F99BBDD45891623AC" ma:contentTypeVersion="11" ma:contentTypeDescription="Shell Document Content Type" ma:contentTypeScope="" ma:versionID="b00e7eede84f748e529ac0fca174f8c6">
  <xsd:schema xmlns:xsd="http://www.w3.org/2001/XMLSchema" xmlns:xs="http://www.w3.org/2001/XMLSchema" xmlns:p="http://schemas.microsoft.com/office/2006/metadata/properties" xmlns:ns1="http://schemas.microsoft.com/sharepoint/v3" xmlns:ns2="42099b78-aeef-456d-b5fd-c8cc8be2b78d" xmlns:ns4="http://schemas.microsoft.com/sharepoint/v4" targetNamespace="http://schemas.microsoft.com/office/2006/metadata/properties" ma:root="true" ma:fieldsID="75518a9031709c174f734b8c736d8c3c" ns1:_="" ns2:_="" ns4:_="">
    <xsd:import namespace="http://schemas.microsoft.com/sharepoint/v3"/>
    <xsd:import namespace="42099b78-aeef-456d-b5fd-c8cc8be2b78d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_dlc_DocIdUrl" minOccurs="0"/>
                <xsd:element ref="ns1:SAEFSecurityClassificationTaxHTField0" minOccurs="0"/>
                <xsd:element ref="ns1:SAEFExportControlClassificationTaxHTField0" minOccurs="0"/>
                <xsd:element ref="ns1:SAEFDocumentStatusTaxHTField0" minOccurs="0"/>
                <xsd:element ref="ns1:SAEFDocumentTypeTaxHTField0" minOccurs="0"/>
                <xsd:element ref="ns1:SAEFOwner" minOccurs="0"/>
                <xsd:element ref="ns1:SAEFBusinessTaxHTField0" minOccurs="0"/>
                <xsd:element ref="ns1:SAEFBusinessUnitRegionTaxHTField0" minOccurs="0"/>
                <xsd:element ref="ns1:SAEFGlobalFunctionTaxHTField0" minOccurs="0"/>
                <xsd:element ref="ns1:SAEFBusinessProcessTaxHTField0" minOccurs="0"/>
                <xsd:element ref="ns1:SAEFLegalEntityTaxHTField0" minOccurs="0"/>
                <xsd:element ref="ns1:SAEFWorkgroupIDTaxHTField0" minOccurs="0"/>
                <xsd:element ref="ns1:SAEFSiteCollectionName"/>
                <xsd:element ref="ns1:SAEFSiteOwner"/>
                <xsd:element ref="ns1:SAEFLanguageTaxHTField0" minOccurs="0"/>
                <xsd:element ref="ns1:SAEFCountryOfJurisdictionTaxHTField0" minOccurs="0"/>
                <xsd:element ref="ns1:SAEFCollection"/>
                <xsd:element ref="ns1:SAEFKeepFileLocal"/>
                <xsd:element ref="ns1:SAEFAssetIdentifier" minOccurs="0"/>
                <xsd:element ref="ns2:TaxCatchAllLabel" minOccurs="0"/>
                <xsd:element ref="ns2:TaxCatchAll" minOccurs="0"/>
                <xsd:element ref="ns2:_dlc_DocId" minOccurs="0"/>
                <xsd:element ref="ns2:_dlc_DocIdPersistId" minOccurs="0"/>
                <xsd:element ref="ns1:SAEFFilePlanRecordType" minOccurs="0"/>
                <xsd:element ref="ns1:SAEFRecordStatus" minOccurs="0"/>
                <xsd:element ref="ns1:SAEFDeclarer" minOccurs="0"/>
                <xsd:element ref="ns1:SAEFIsRecord" minOccurs="0"/>
                <xsd:element ref="ns1:SAEFTRIMRecordNumber" minOccurs="0"/>
                <xsd:element ref="ns4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SAEFSecurityClassificationTaxHTField0" ma:index="3" ma:taxonomy="true" ma:internalName="SAEFSecurityClassificationTaxHTField0" ma:taxonomyFieldName="SAEFSecurityClassification" ma:displayName="Security Classification" ma:default="7;#Restricted|21aa7f98-4035-4019-a764-107acb7269af" ma:fieldId="{2ce2f798-4e95-48f9-a317-73f854109466}" ma:sspId="b9f46dd1-24cc-42ee-81c0-d22fe755409c" ma:termSetId="daf890f0-167e-4ee2-a9fd-a81536ed816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ExportControlClassificationTaxHTField0" ma:index="5" nillable="true" ma:taxonomy="true" ma:internalName="SAEFExportControlClassificationTaxHTField0" ma:taxonomyFieldName="SAEFExportControlClassification" ma:displayName="Export Control" ma:readOnly="false" ma:default="8;#Non-US content - Non Controlled|2ac8835e-0587-4096-a6e2-1f68da1e6cb3" ma:fieldId="{334f96ae-8e6f-4bca-bd92-9698e8369ad6}" ma:sspId="b9f46dd1-24cc-42ee-81c0-d22fe755409c" ma:termSetId="0a37200c-155d-4bd2-8a71-6ee4023d1a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DocumentStatusTaxHTField0" ma:index="7" ma:taxonomy="true" ma:internalName="SAEFDocumentStatusTaxHTField0" ma:taxonomyFieldName="SAEFDocumentStatus" ma:displayName="Document Status" ma:default="10;#Draft|1c86f377-7d91-4c95-bd5b-c18c83fe0aa5" ma:fieldId="{627a77c6-2170-43dd-a0ef-eb6a3870ea75}" ma:sspId="b9f46dd1-24cc-42ee-81c0-d22fe755409c" ma:termSetId="935aba77-d2cb-414d-bb70-87b73a0515d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DocumentTypeTaxHTField0" ma:index="9" ma:taxonomy="true" ma:internalName="SAEFDocumentTypeTaxHTField0" ma:taxonomyFieldName="SAEFDocumentType" ma:displayName="Document Type" ma:default="" ma:fieldId="{566fdc14-b4fa-46ee-a88e-e2aac7ad2eac}" ma:sspId="b9f46dd1-24cc-42ee-81c0-d22fe755409c" ma:termSetId="c44bbaaa-530b-481e-814c-1a89fe9de40e" ma:anchorId="352dd3f6-c8ee-4c48-93af-e62c944275c3" ma:open="false" ma:isKeyword="false">
      <xsd:complexType>
        <xsd:sequence>
          <xsd:element ref="pc:Terms" minOccurs="0" maxOccurs="1"/>
        </xsd:sequence>
      </xsd:complexType>
    </xsd:element>
    <xsd:element name="SAEFOwner" ma:index="12" nillable="true" ma:displayName="Owner" ma:internalName="SAEFOwner">
      <xsd:simpleType>
        <xsd:restriction base="dms:Text"/>
      </xsd:simpleType>
    </xsd:element>
    <xsd:element name="SAEFBusinessTaxHTField0" ma:index="13" ma:taxonomy="true" ma:internalName="SAEFBusinessTaxHTField0" ma:taxonomyFieldName="SAEFBusiness" ma:displayName="Business" ma:default="1;#Upstream International|dabf15d9-4f75-4ed1-b8a1-a0c3e2a85888" ma:fieldId="{0d7acb72-5c17-4ee6-b184-d60d15597f6a}" ma:sspId="b9f46dd1-24cc-42ee-81c0-d22fe755409c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BusinessUnitRegionTaxHTField0" ma:index="15" ma:taxonomy="true" ma:internalName="SAEFBusinessUnitRegionTaxHTField0" ma:taxonomyFieldName="SAEFBusinessUnitRegion" ma:displayName="Business Unit/Region" ma:default="1;#Upstream International|dabf15d9-4f75-4ed1-b8a1-a0c3e2a85888" ma:fieldId="{98984985-015b-4079-8918-b5a01b45e4b3}" ma:sspId="b9f46dd1-24cc-42ee-81c0-d22fe755409c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GlobalFunctionTaxHTField0" ma:index="17" ma:taxonomy="true" ma:internalName="SAEFGlobalFunctionTaxHTField0" ma:taxonomyFieldName="SAEFGlobalFunction" ma:displayName="Business Function" ma:default="2;#Not Applicable|ddce64fb-3cb8-4cd9-8e3d-0fe554247fd1" ma:fieldId="{1284211f-8330-48b1-a5cc-ec1f0d9b0f7a}" ma:sspId="b9f46dd1-24cc-42ee-81c0-d22fe755409c" ma:termSetId="354c4cc3-2d4b-4608-9bbd-a538d7fca2d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BusinessProcessTaxHTField0" ma:index="19" nillable="true" ma:taxonomy="true" ma:internalName="SAEFBusinessProcessTaxHTField0" ma:taxonomyFieldName="SAEFBusinessProcess" ma:displayName="Business Process" ma:default="9;#All - Records Management|1f68a0f2-47ab-4887-8df5-7c0616d5ad90" ma:fieldId="{f7493bb9-5348-44de-a787-5c9f505950a2}" ma:sspId="b9f46dd1-24cc-42ee-81c0-d22fe755409c" ma:termSetId="f105a133-66fc-4406-afa4-8b472c9cdbb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LegalEntityTaxHTField0" ma:index="21" ma:taxonomy="true" ma:internalName="SAEFLegalEntityTaxHTField0" ma:taxonomyFieldName="SAEFLegalEntity" ma:displayName="Legal Entity" ma:default="3;#The Shell Petroleum Development Company Of Nigeria Limited|b482a97d-f8dd-41c8-ab1c-99b8408fd22e" ma:fieldId="{529dd253-148e-4d10-9b8c-1444f6695d3b}" ma:sspId="b9f46dd1-24cc-42ee-81c0-d22fe755409c" ma:termSetId="94b6dd6e-4329-4f68-907b-ed5bdd50f8a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WorkgroupIDTaxHTField0" ma:index="23" ma:taxonomy="true" ma:internalName="SAEFWorkgroupIDTaxHTField0" ma:taxonomyFieldName="SAEFWorkgroupID" ma:displayName="TRIM Workgroup" ma:default="4;#Upstream _ Single File Plan - 22022|d3ed65c1-761d-4a84-a678-924ffd6ed182" ma:fieldId="{c47cabfe-a1bc-4e26-91b8-d95c8ce41647}" ma:sspId="b9f46dd1-24cc-42ee-81c0-d22fe755409c" ma:termSetId="85736b86-0546-4c3b-b21c-7ab07eee056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SiteCollectionName" ma:index="25" ma:displayName="Site Collection Name" ma:default="SCiN Transformation Team" ma:hidden="true" ma:internalName="SAEFSiteCollectionName">
      <xsd:simpleType>
        <xsd:restriction base="dms:Text"/>
      </xsd:simpleType>
    </xsd:element>
    <xsd:element name="SAEFSiteOwner" ma:index="26" ma:displayName="Site Owner" ma:default="i:0#.w|africa-me\its-app-imnga-s" ma:hidden="true" ma:internalName="SAEFSiteOwner">
      <xsd:simpleType>
        <xsd:restriction base="dms:Text"/>
      </xsd:simpleType>
    </xsd:element>
    <xsd:element name="SAEFLanguageTaxHTField0" ma:index="27" ma:taxonomy="true" ma:internalName="SAEFLanguageTaxHTField0" ma:taxonomyFieldName="SAEFLanguage" ma:displayName="Language" ma:default="5;#English|bd3ad5ee-f0c3-40aa-8cc8-36ef09940af3" ma:fieldId="{a99e316a-5158-4b34-9a98-5674ef8a1639}" ma:sspId="b9f46dd1-24cc-42ee-81c0-d22fe755409c" ma:termSetId="b2561cd2-09b2-4dce-b5be-021768df6d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CountryOfJurisdictionTaxHTField0" ma:index="29" ma:taxonomy="true" ma:internalName="SAEFCountryOfJurisdictionTaxHTField0" ma:taxonomyFieldName="SAEFCountryOfJurisdiction" ma:displayName="Country of Jurisdiction" ma:default="6;#NIGERIA|973e3eb3-a5f9-4712-a628-787e048af9f3" ma:fieldId="{dc07035f-7987-48f5-ba88-2d29e2b62c9e}" ma:sspId="b9f46dd1-24cc-42ee-81c0-d22fe755409c" ma:termSetId="a560ecad-89fd-4dcd-adad-4e15e7baec5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Collection" ma:index="31" ma:displayName="Collection" ma:default="0" ma:hidden="true" ma:internalName="SAEFCollection">
      <xsd:simpleType>
        <xsd:restriction base="dms:Boolean"/>
      </xsd:simpleType>
    </xsd:element>
    <xsd:element name="SAEFKeepFileLocal" ma:index="32" ma:displayName="Keep File Local" ma:default="0" ma:hidden="true" ma:internalName="SAEFKeepFileLocal">
      <xsd:simpleType>
        <xsd:restriction base="dms:Boolean"/>
      </xsd:simpleType>
    </xsd:element>
    <xsd:element name="SAEFAssetIdentifier" ma:index="33" nillable="true" ma:displayName="Asset Identifier" ma:hidden="true" ma:internalName="SAEFAssetIdentifier">
      <xsd:simpleType>
        <xsd:restriction base="dms:Text"/>
      </xsd:simpleType>
    </xsd:element>
    <xsd:element name="SAEFFilePlanRecordType" ma:index="44" nillable="true" ma:displayName="File Plan Record Type" ma:hidden="true" ma:internalName="SAEFFilePlanRecordType">
      <xsd:simpleType>
        <xsd:restriction base="dms:Text"/>
      </xsd:simpleType>
    </xsd:element>
    <xsd:element name="SAEFRecordStatus" ma:index="45" nillable="true" ma:displayName="Record Status" ma:hidden="true" ma:internalName="SAEFRecordStatus">
      <xsd:simpleType>
        <xsd:restriction base="dms:Text"/>
      </xsd:simpleType>
    </xsd:element>
    <xsd:element name="SAEFDeclarer" ma:index="46" nillable="true" ma:displayName="Declarer" ma:hidden="true" ma:internalName="SAEFDeclarer">
      <xsd:simpleType>
        <xsd:restriction base="dms:Text"/>
      </xsd:simpleType>
    </xsd:element>
    <xsd:element name="SAEFIsRecord" ma:index="47" nillable="true" ma:displayName="Is Record" ma:hidden="true" ma:internalName="SAEFIsRecord">
      <xsd:simpleType>
        <xsd:restriction base="dms:Text"/>
      </xsd:simpleType>
    </xsd:element>
    <xsd:element name="SAEFTRIMRecordNumber" ma:index="48" nillable="true" ma:displayName="TRIM Record Number" ma:hidden="true" ma:internalName="SAEFTRIMRecordNumber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099b78-aeef-456d-b5fd-c8cc8be2b78d" elementFormDefault="qualified">
    <xsd:import namespace="http://schemas.microsoft.com/office/2006/documentManagement/types"/>
    <xsd:import namespace="http://schemas.microsoft.com/office/infopath/2007/PartnerControls"/>
    <xsd:element name="_dlc_DocIdUrl" ma:index="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TaxCatchAllLabel" ma:index="34" nillable="true" ma:displayName="Taxonomy Catch All Column1" ma:hidden="true" ma:list="{d33939a8-5322-485e-b35d-d8f22c69cb4d}" ma:internalName="TaxCatchAllLabel" ma:readOnly="true" ma:showField="CatchAllDataLabel" ma:web="42099b78-aeef-456d-b5fd-c8cc8be2b78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35" nillable="true" ma:displayName="Taxonomy Catch All Column" ma:hidden="true" ma:list="{d33939a8-5322-485e-b35d-d8f22c69cb4d}" ma:internalName="TaxCatchAll" ma:showField="CatchAllData" ma:web="42099b78-aeef-456d-b5fd-c8cc8be2b78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_dlc_DocId" ma:index="41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PersistId" ma:index="43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49" nillable="true" ma:displayName="IconOverlay" ma:hidden="true" ma:internalName="IconOverlay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11" ma:displayName="Author"/>
        <xsd:element ref="dcterms:created" minOccurs="0" maxOccurs="1"/>
        <xsd:element ref="dc:identifier" minOccurs="0" maxOccurs="1"/>
        <xsd:element name="contentType" minOccurs="0" maxOccurs="1" type="xsd:string" ma:index="4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FEC08BF-1585-4E0B-9226-AC13BE5F95CA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26DB46B4-BD66-4B39-8B39-ADA122B1F5B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ECB44B5-B142-4053-9CB3-74948987C586}">
  <ds:schemaRefs>
    <ds:schemaRef ds:uri="http://purl.org/dc/elements/1.1/"/>
    <ds:schemaRef ds:uri="http://schemas.microsoft.com/office/2006/metadata/properties"/>
    <ds:schemaRef ds:uri="http://schemas.microsoft.com/sharepoint/v3"/>
    <ds:schemaRef ds:uri="42099b78-aeef-456d-b5fd-c8cc8be2b78d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schemas.microsoft.com/sharepoint/v4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1E9747E8-D415-461F-B399-6EF8F00A9E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42099b78-aeef-456d-b5fd-c8cc8be2b78d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b1e96a8-a3da-442a-930b-235cac24cd5c}" enabled="0" method="" siteId="{db1e96a8-a3da-442a-930b-235cac24cd5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3492</TotalTime>
  <Words>168</Words>
  <Application>Microsoft Office PowerPoint</Application>
  <PresentationFormat>Widescreen</PresentationFormat>
  <Paragraphs>10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9" baseType="lpstr">
      <vt:lpstr>Arial</vt:lpstr>
      <vt:lpstr>Calibri</vt:lpstr>
      <vt:lpstr>Century Gothic</vt:lpstr>
      <vt:lpstr>Futura Bold</vt:lpstr>
      <vt:lpstr>Futura Medium</vt:lpstr>
      <vt:lpstr>ShellBook</vt:lpstr>
      <vt:lpstr>Wingdings</vt:lpstr>
      <vt:lpstr>Wingdings 3</vt:lpstr>
      <vt:lpstr>Shell_CF_RDS598</vt:lpstr>
      <vt:lpstr>1_Shell_CF_RDS598</vt:lpstr>
      <vt:lpstr>2_Shell_CF_RDS598</vt:lpstr>
      <vt:lpstr>3_Shell_CF_RDS598</vt:lpstr>
      <vt:lpstr>4_Shell_CF_RDS598</vt:lpstr>
      <vt:lpstr>16_Shell_CF_RDS598</vt:lpstr>
      <vt:lpstr>10_Shell_CF_RDS598</vt:lpstr>
      <vt:lpstr>11_Shell_CF_RDS598</vt:lpstr>
      <vt:lpstr>Wisp</vt:lpstr>
      <vt:lpstr>think-cell Slide</vt:lpstr>
      <vt:lpstr>PowerPoint Presentation</vt:lpstr>
    </vt:vector>
  </TitlesOfParts>
  <Company>M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Abiodun Busari</dc:creator>
  <cp:lastModifiedBy>Mark, Enyo SPDC-UPC/G/UW</cp:lastModifiedBy>
  <cp:revision>6371</cp:revision>
  <cp:lastPrinted>2021-03-18T16:57:06Z</cp:lastPrinted>
  <dcterms:created xsi:type="dcterms:W3CDTF">2017-02-15T05:40:51Z</dcterms:created>
  <dcterms:modified xsi:type="dcterms:W3CDTF">2022-11-22T15:3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VGCompatibilityCheck Run By">
    <vt:lpwstr>Chandrasekar N</vt:lpwstr>
  </property>
  <property fmtid="{D5CDD505-2E9C-101B-9397-08002B2CF9AE}" pid="12" name="VGCompatibilityCheck Run On ">
    <vt:lpwstr>7/28/2016 11:54:17 PM</vt:lpwstr>
  </property>
  <property fmtid="{D5CDD505-2E9C-101B-9397-08002B2CF9AE}" pid="13" name="ContentTypeId">
    <vt:lpwstr>0x0101006F0A470EEB1140E7AA14F4CE8A50B54C0001CB1477F4DD432AA86DD56CC3887AF4007838DEC0B14A4B4F99BBDD45891623AC</vt:lpwstr>
  </property>
  <property fmtid="{D5CDD505-2E9C-101B-9397-08002B2CF9AE}" pid="14" name="VGCompatibilityCheck Run On">
    <vt:lpwstr>7/28/2016 11:54:17 PM</vt:lpwstr>
  </property>
  <property fmtid="{D5CDD505-2E9C-101B-9397-08002B2CF9AE}" pid="15" name="_dlc_DocIdItemGuid">
    <vt:lpwstr>f9cfcce0-2e52-4feb-bdc9-a0e302db9b51</vt:lpwstr>
  </property>
  <property fmtid="{D5CDD505-2E9C-101B-9397-08002B2CF9AE}" pid="16" name="SAEFExportControlClassification">
    <vt:lpwstr>8;#Non-US content - Non Controlled|2ac8835e-0587-4096-a6e2-1f68da1e6cb3</vt:lpwstr>
  </property>
  <property fmtid="{D5CDD505-2E9C-101B-9397-08002B2CF9AE}" pid="17" name="SAEFDocumentStatus">
    <vt:lpwstr>10;#Draft|1c86f377-7d91-4c95-bd5b-c18c83fe0aa5</vt:lpwstr>
  </property>
  <property fmtid="{D5CDD505-2E9C-101B-9397-08002B2CF9AE}" pid="18" name="SAEFWorkgroupID">
    <vt:lpwstr>4;#Upstream _ Single File Plan - 22022|d3ed65c1-761d-4a84-a678-924ffd6ed182</vt:lpwstr>
  </property>
  <property fmtid="{D5CDD505-2E9C-101B-9397-08002B2CF9AE}" pid="19" name="SAEFBusinessUnitRegion">
    <vt:lpwstr>1;#Upstream International|dabf15d9-4f75-4ed1-b8a1-a0c3e2a85888</vt:lpwstr>
  </property>
  <property fmtid="{D5CDD505-2E9C-101B-9397-08002B2CF9AE}" pid="20" name="SAEFCountryOfJurisdiction">
    <vt:lpwstr>6;#NIGERIA|973e3eb3-a5f9-4712-a628-787e048af9f3</vt:lpwstr>
  </property>
  <property fmtid="{D5CDD505-2E9C-101B-9397-08002B2CF9AE}" pid="21" name="SAEFDocumentType">
    <vt:lpwstr>27;#Business Plans [ARM]|59d2480a-ae43-41cf-ab8c-fb8985b4f788</vt:lpwstr>
  </property>
  <property fmtid="{D5CDD505-2E9C-101B-9397-08002B2CF9AE}" pid="22" name="SAEFLanguage">
    <vt:lpwstr>5;#English|bd3ad5ee-f0c3-40aa-8cc8-36ef09940af3</vt:lpwstr>
  </property>
  <property fmtid="{D5CDD505-2E9C-101B-9397-08002B2CF9AE}" pid="23" name="SAEFSecurityClassification">
    <vt:lpwstr>7;#Restricted|21aa7f98-4035-4019-a764-107acb7269af</vt:lpwstr>
  </property>
  <property fmtid="{D5CDD505-2E9C-101B-9397-08002B2CF9AE}" pid="24" name="SAEFBusiness">
    <vt:lpwstr>1;#Upstream International|dabf15d9-4f75-4ed1-b8a1-a0c3e2a85888</vt:lpwstr>
  </property>
  <property fmtid="{D5CDD505-2E9C-101B-9397-08002B2CF9AE}" pid="25" name="SAEFBusinessProcess">
    <vt:lpwstr>9;#All - Records Management|1f68a0f2-47ab-4887-8df5-7c0616d5ad90</vt:lpwstr>
  </property>
  <property fmtid="{D5CDD505-2E9C-101B-9397-08002B2CF9AE}" pid="26" name="SAEFGlobalFunction">
    <vt:lpwstr>2;#Not Applicable|ddce64fb-3cb8-4cd9-8e3d-0fe554247fd1</vt:lpwstr>
  </property>
  <property fmtid="{D5CDD505-2E9C-101B-9397-08002B2CF9AE}" pid="27" name="SAEFLegalEntity">
    <vt:lpwstr>3;#The Shell Petroleum Development Company Of Nigeria Limited|b482a97d-f8dd-41c8-ab1c-99b8408fd22e</vt:lpwstr>
  </property>
</Properties>
</file>